
<file path=[Content_Types].xml><?xml version="1.0" encoding="utf-8"?>
<Types xmlns="http://schemas.openxmlformats.org/package/2006/content-types">
  <Default Extension="bin" ContentType="image/x-emf"/>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85" r:id="rId1"/>
  </p:sldMasterIdLst>
  <p:notesMasterIdLst>
    <p:notesMasterId r:id="rId13"/>
  </p:notesMasterIdLst>
  <p:handoutMasterIdLst>
    <p:handoutMasterId r:id="rId14"/>
  </p:handoutMasterIdLst>
  <p:sldIdLst>
    <p:sldId id="340" r:id="rId2"/>
    <p:sldId id="307" r:id="rId3"/>
    <p:sldId id="323" r:id="rId4"/>
    <p:sldId id="263" r:id="rId5"/>
    <p:sldId id="342" r:id="rId6"/>
    <p:sldId id="325" r:id="rId7"/>
    <p:sldId id="328" r:id="rId8"/>
    <p:sldId id="343" r:id="rId9"/>
    <p:sldId id="333" r:id="rId10"/>
    <p:sldId id="334" r:id="rId11"/>
    <p:sldId id="335" r:id="rId12"/>
  </p:sldIdLst>
  <p:sldSz cx="10045700" cy="7524750"/>
  <p:notesSz cx="6735763" cy="9866313"/>
  <p:defaultTex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orient="horz" pos="2490" userDrawn="1">
          <p15:clr>
            <a:srgbClr val="A4A3A4"/>
          </p15:clr>
        </p15:guide>
        <p15:guide id="5" pos="3164" userDrawn="1">
          <p15:clr>
            <a:srgbClr val="A4A3A4"/>
          </p15:clr>
        </p15:guide>
        <p15:guide id="6" pos="3956" userDrawn="1">
          <p15:clr>
            <a:srgbClr val="A4A3A4"/>
          </p15:clr>
        </p15:guide>
        <p15:guide id="7" pos="5300" userDrawn="1">
          <p15:clr>
            <a:srgbClr val="A4A3A4"/>
          </p15:clr>
        </p15:guide>
        <p15:guide id="8" orient="horz" pos="2898" userDrawn="1">
          <p15:clr>
            <a:srgbClr val="A4A3A4"/>
          </p15:clr>
        </p15:guide>
      </p15:sldGuideLst>
    </p:ext>
    <p:ext uri="{2D200454-40CA-4A62-9FC3-DE9A4176ACB9}">
      <p15:notesGuideLst xmlns:p15="http://schemas.microsoft.com/office/powerpoint/2012/main" xmlns="">
        <p15:guide id="1" orient="horz" pos="6214" userDrawn="1">
          <p15:clr>
            <a:srgbClr val="A4A3A4"/>
          </p15:clr>
        </p15:guide>
        <p15:guide id="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ssler, Shannon" initials="HS" lastIdx="5"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99AC"/>
    <a:srgbClr val="679B9A"/>
    <a:srgbClr val="FFFFFF"/>
    <a:srgbClr val="C2918C"/>
    <a:srgbClr val="AE6D66"/>
    <a:srgbClr val="A4C2C0"/>
    <a:srgbClr val="ABBEAA"/>
    <a:srgbClr val="42A2A4"/>
    <a:srgbClr val="7AC8C9"/>
    <a:srgbClr val="3B6C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7" autoAdjust="0"/>
    <p:restoredTop sz="96187" autoAdjust="0"/>
  </p:normalViewPr>
  <p:slideViewPr>
    <p:cSldViewPr snapToGrid="0" showGuides="1">
      <p:cViewPr varScale="1">
        <p:scale>
          <a:sx n="34" d="100"/>
          <a:sy n="34" d="100"/>
        </p:scale>
        <p:origin x="-86" y="-994"/>
      </p:cViewPr>
      <p:guideLst>
        <p:guide orient="horz" pos="2490"/>
        <p:guide orient="horz" pos="2898"/>
        <p:guide pos="3164"/>
        <p:guide pos="3956"/>
        <p:guide pos="530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74" d="100"/>
          <a:sy n="74" d="100"/>
        </p:scale>
        <p:origin x="2142" y="78"/>
      </p:cViewPr>
      <p:guideLst>
        <p:guide orient="horz" pos="6214"/>
        <p:guide/>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Libro_de_Microsoft_Office_Excel_20071.xlsx"/><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package" Target="../embeddings/Libro_de_Microsoft_Office_Excel_20072.xlsx"/><Relationship Id="rId1" Type="http://schemas.openxmlformats.org/officeDocument/2006/relationships/themeOverride" Target="../theme/themeOverride2.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Libro_de_Microsoft_Office_Excel_20073.xlsx"/><Relationship Id="rId1" Type="http://schemas.openxmlformats.org/officeDocument/2006/relationships/themeOverride" Target="../theme/themeOverride3.xml"/><Relationship Id="rId4"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title>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ES"/>
        </a:p>
      </c:txPr>
    </c:title>
    <c:autoTitleDeleted val="0"/>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3"/>
          <c:order val="0"/>
          <c:tx>
            <c:strRef>
              <c:f>Sheet1!$E$3</c:f>
              <c:strCache>
                <c:ptCount val="1"/>
                <c:pt idx="0">
                  <c:v>Primer Contrato</c:v>
                </c:pt>
              </c:strCache>
            </c:strRef>
          </c:tx>
          <c:spPr>
            <a:solidFill>
              <a:schemeClr val="accent6">
                <a:tint val="77000"/>
                <a:alpha val="85000"/>
              </a:schemeClr>
            </a:solidFill>
            <a:ln w="9525" cap="flat" cmpd="sng" algn="ctr">
              <a:solidFill>
                <a:schemeClr val="accent6">
                  <a:tint val="77000"/>
                  <a:lumMod val="75000"/>
                </a:schemeClr>
              </a:solidFill>
              <a:round/>
            </a:ln>
            <a:effectLst/>
            <a:sp3d contourW="9525">
              <a:contourClr>
                <a:schemeClr val="accent6">
                  <a:tint val="77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dk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4:$A$9</c:f>
              <c:strCache>
                <c:ptCount val="4"/>
                <c:pt idx="0">
                  <c:v>Conocimientos y Experiencia</c:v>
                </c:pt>
                <c:pt idx="1">
                  <c:v>Capacidades de liderazgo</c:v>
                </c:pt>
                <c:pt idx="2">
                  <c:v>Cultura y valores</c:v>
                </c:pt>
                <c:pt idx="3">
                  <c:v>Agilidad y Potencial</c:v>
                </c:pt>
              </c:strCache>
            </c:strRef>
          </c:cat>
          <c:val>
            <c:numRef>
              <c:f>Sheet1!$E$4:$E$9</c:f>
              <c:numCache>
                <c:formatCode>General</c:formatCode>
                <c:ptCount val="6"/>
                <c:pt idx="0">
                  <c:v>60</c:v>
                </c:pt>
                <c:pt idx="1">
                  <c:v>15</c:v>
                </c:pt>
                <c:pt idx="2">
                  <c:v>20</c:v>
                </c:pt>
                <c:pt idx="3">
                  <c:v>5</c:v>
                </c:pt>
              </c:numCache>
            </c:numRef>
          </c:val>
        </c:ser>
        <c:dLbls>
          <c:showLegendKey val="0"/>
          <c:showVal val="1"/>
          <c:showCatName val="0"/>
          <c:showSerName val="0"/>
          <c:showPercent val="0"/>
          <c:showBubbleSize val="0"/>
        </c:dLbls>
        <c:gapWidth val="65"/>
        <c:shape val="box"/>
        <c:axId val="31156480"/>
        <c:axId val="33662080"/>
        <c:axId val="0"/>
        <c:extLst>
          <c:ext xmlns:c15="http://schemas.microsoft.com/office/drawing/2012/chart" uri="{02D57815-91ED-43cb-92C2-25804820EDAC}">
            <c15:filteredBarSeries>
              <c15:ser>
                <c:idx val="0"/>
                <c:order val="0"/>
                <c:tx>
                  <c:strRef>
                    <c:extLst>
                      <c:ext uri="{02D57815-91ED-43cb-92C2-25804820EDAC}">
                        <c15:formulaRef>
                          <c15:sqref>Sheet1!$B$3</c15:sqref>
                        </c15:formulaRef>
                      </c:ext>
                    </c:extLst>
                    <c:strCache>
                      <c:ptCount val="1"/>
                    </c:strCache>
                  </c:strRef>
                </c:tx>
                <c:spPr>
                  <a:solidFill>
                    <a:schemeClr val="accent6">
                      <a:shade val="53000"/>
                      <a:alpha val="85000"/>
                    </a:schemeClr>
                  </a:solidFill>
                  <a:ln w="9525" cap="flat" cmpd="sng" algn="ctr">
                    <a:solidFill>
                      <a:schemeClr val="accent6">
                        <a:shade val="53000"/>
                        <a:lumMod val="75000"/>
                      </a:schemeClr>
                    </a:solidFill>
                    <a:round/>
                  </a:ln>
                  <a:effectLst/>
                  <a:sp3d contourW="9525">
                    <a:contourClr>
                      <a:schemeClr val="accent6">
                        <a:shade val="53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a:solidFill>
                              <a:schemeClr val="dk1">
                                <a:lumMod val="50000"/>
                                <a:lumOff val="50000"/>
                              </a:schemeClr>
                            </a:solidFill>
                          </a:ln>
                          <a:effectLst/>
                        </c:spPr>
                      </c15:leaderLines>
                    </c:ext>
                  </c:extLst>
                </c:dLbls>
                <c:cat>
                  <c:strRef>
                    <c:extLst>
                      <c:ext uri="{02D57815-91ED-43cb-92C2-25804820EDAC}">
                        <c15:formulaRef>
                          <c15:sqref>Sheet1!$A$4:$A$9</c15:sqref>
                        </c15:formulaRef>
                      </c:ext>
                    </c:extLst>
                    <c:strCache>
                      <c:ptCount val="4"/>
                      <c:pt idx="0">
                        <c:v>Conocimientos y Experiencia</c:v>
                      </c:pt>
                      <c:pt idx="1">
                        <c:v>Capacidades de liderazgo</c:v>
                      </c:pt>
                      <c:pt idx="2">
                        <c:v>Cultura y valores</c:v>
                      </c:pt>
                      <c:pt idx="3">
                        <c:v>Agilidad y Potencial</c:v>
                      </c:pt>
                    </c:strCache>
                  </c:strRef>
                </c:cat>
                <c:val>
                  <c:numRef>
                    <c:extLst>
                      <c:ext uri="{02D57815-91ED-43cb-92C2-25804820EDAC}">
                        <c15:formulaRef>
                          <c15:sqref>Sheet1!$B$4:$B$9</c15:sqref>
                        </c15:formulaRef>
                      </c:ext>
                    </c:extLst>
                    <c:numCache>
                      <c:formatCode>General</c:formatCode>
                      <c:ptCount val="6"/>
                    </c:numCache>
                  </c:numRef>
                </c:val>
              </c15:ser>
            </c15:filteredBarSeries>
            <c15:filteredBarSeries>
              <c15:ser>
                <c:idx val="1"/>
                <c:order val="1"/>
                <c:tx>
                  <c:strRef>
                    <c:extLst xmlns:c15="http://schemas.microsoft.com/office/drawing/2012/chart">
                      <c:ext xmlns:c15="http://schemas.microsoft.com/office/drawing/2012/chart" uri="{02D57815-91ED-43cb-92C2-25804820EDAC}">
                        <c15:formulaRef>
                          <c15:sqref>Sheet1!$C$3</c15:sqref>
                        </c15:formulaRef>
                      </c:ext>
                    </c:extLst>
                    <c:strCache>
                      <c:ptCount val="1"/>
                    </c:strCache>
                  </c:strRef>
                </c:tx>
                <c:spPr>
                  <a:solidFill>
                    <a:schemeClr val="accent6">
                      <a:shade val="76000"/>
                      <a:alpha val="85000"/>
                    </a:schemeClr>
                  </a:solidFill>
                  <a:ln w="9525" cap="flat" cmpd="sng" algn="ctr">
                    <a:solidFill>
                      <a:schemeClr val="accent6">
                        <a:shade val="76000"/>
                        <a:lumMod val="75000"/>
                      </a:schemeClr>
                    </a:solidFill>
                    <a:round/>
                  </a:ln>
                  <a:effectLst/>
                  <a:sp3d contourW="9525">
                    <a:contourClr>
                      <a:schemeClr val="accent6">
                        <a:shade val="76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A$4:$A$9</c15:sqref>
                        </c15:formulaRef>
                      </c:ext>
                    </c:extLst>
                    <c:strCache>
                      <c:ptCount val="4"/>
                      <c:pt idx="0">
                        <c:v>Conocimientos y Experiencia</c:v>
                      </c:pt>
                      <c:pt idx="1">
                        <c:v>Capacidades de liderazgo</c:v>
                      </c:pt>
                      <c:pt idx="2">
                        <c:v>Cultura y valores</c:v>
                      </c:pt>
                      <c:pt idx="3">
                        <c:v>Agilidad y Potencial</c:v>
                      </c:pt>
                    </c:strCache>
                  </c:strRef>
                </c:cat>
                <c:val>
                  <c:numRef>
                    <c:extLst xmlns:c15="http://schemas.microsoft.com/office/drawing/2012/chart">
                      <c:ext xmlns:c15="http://schemas.microsoft.com/office/drawing/2012/chart" uri="{02D57815-91ED-43cb-92C2-25804820EDAC}">
                        <c15:formulaRef>
                          <c15:sqref>Sheet1!$C$4:$C$9</c15:sqref>
                        </c15:formulaRef>
                      </c:ext>
                    </c:extLst>
                    <c:numCache>
                      <c:formatCode>General</c:formatCode>
                      <c:ptCount val="6"/>
                    </c:numCache>
                  </c:numRef>
                </c:val>
              </c15:ser>
            </c15:filteredBarSeries>
            <c15:filteredBarSeries>
              <c15:ser>
                <c:idx val="2"/>
                <c:order val="2"/>
                <c:tx>
                  <c:strRef>
                    <c:extLst xmlns:c15="http://schemas.microsoft.com/office/drawing/2012/chart">
                      <c:ext xmlns:c15="http://schemas.microsoft.com/office/drawing/2012/chart" uri="{02D57815-91ED-43cb-92C2-25804820EDAC}">
                        <c15:formulaRef>
                          <c15:sqref>Sheet1!$D$3</c15:sqref>
                        </c15:formulaRef>
                      </c:ext>
                    </c:extLst>
                    <c:strCache>
                      <c:ptCount val="1"/>
                    </c:strCache>
                  </c:strRef>
                </c:tx>
                <c:spPr>
                  <a:solidFill>
                    <a:schemeClr val="accent6">
                      <a:alpha val="85000"/>
                    </a:schemeClr>
                  </a:solidFill>
                  <a:ln w="9525" cap="flat" cmpd="sng" algn="ctr">
                    <a:solidFill>
                      <a:schemeClr val="accent6">
                        <a:lumMod val="75000"/>
                      </a:schemeClr>
                    </a:solidFill>
                    <a:round/>
                  </a:ln>
                  <a:effectLst/>
                  <a:sp3d contourW="9525">
                    <a:contourClr>
                      <a:schemeClr val="accent6">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A$4:$A$9</c15:sqref>
                        </c15:formulaRef>
                      </c:ext>
                    </c:extLst>
                    <c:strCache>
                      <c:ptCount val="4"/>
                      <c:pt idx="0">
                        <c:v>Conocimientos y Experiencia</c:v>
                      </c:pt>
                      <c:pt idx="1">
                        <c:v>Capacidades de liderazgo</c:v>
                      </c:pt>
                      <c:pt idx="2">
                        <c:v>Cultura y valores</c:v>
                      </c:pt>
                      <c:pt idx="3">
                        <c:v>Agilidad y Potencial</c:v>
                      </c:pt>
                    </c:strCache>
                  </c:strRef>
                </c:cat>
                <c:val>
                  <c:numRef>
                    <c:extLst xmlns:c15="http://schemas.microsoft.com/office/drawing/2012/chart">
                      <c:ext xmlns:c15="http://schemas.microsoft.com/office/drawing/2012/chart" uri="{02D57815-91ED-43cb-92C2-25804820EDAC}">
                        <c15:formulaRef>
                          <c15:sqref>Sheet1!$D$4:$D$9</c15:sqref>
                        </c15:formulaRef>
                      </c:ext>
                    </c:extLst>
                    <c:numCache>
                      <c:formatCode>General</c:formatCode>
                      <c:ptCount val="6"/>
                    </c:numCache>
                  </c:numRef>
                </c:val>
              </c15:ser>
            </c15:filteredBarSeries>
            <c15:filteredBarSeries>
              <c15:ser>
                <c:idx val="4"/>
                <c:order val="4"/>
                <c:tx>
                  <c:strRef>
                    <c:extLst xmlns:c15="http://schemas.microsoft.com/office/drawing/2012/chart">
                      <c:ext xmlns:c15="http://schemas.microsoft.com/office/drawing/2012/chart" uri="{02D57815-91ED-43cb-92C2-25804820EDAC}">
                        <c15:formulaRef>
                          <c15:sqref>Sheet1!$F$3</c15:sqref>
                        </c15:formulaRef>
                      </c:ext>
                    </c:extLst>
                    <c:strCache>
                      <c:ptCount val="1"/>
                    </c:strCache>
                  </c:strRef>
                </c:tx>
                <c:spPr>
                  <a:solidFill>
                    <a:schemeClr val="accent6">
                      <a:tint val="54000"/>
                      <a:alpha val="85000"/>
                    </a:schemeClr>
                  </a:solidFill>
                  <a:ln w="9525" cap="flat" cmpd="sng" algn="ctr">
                    <a:solidFill>
                      <a:schemeClr val="accent6">
                        <a:tint val="54000"/>
                        <a:lumMod val="75000"/>
                      </a:schemeClr>
                    </a:solidFill>
                    <a:round/>
                  </a:ln>
                  <a:effectLst/>
                  <a:sp3d contourW="9525">
                    <a:contourClr>
                      <a:schemeClr val="accent6">
                        <a:tint val="54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A$4:$A$9</c15:sqref>
                        </c15:formulaRef>
                      </c:ext>
                    </c:extLst>
                    <c:strCache>
                      <c:ptCount val="4"/>
                      <c:pt idx="0">
                        <c:v>Conocimientos y Experiencia</c:v>
                      </c:pt>
                      <c:pt idx="1">
                        <c:v>Capacidades de liderazgo</c:v>
                      </c:pt>
                      <c:pt idx="2">
                        <c:v>Cultura y valores</c:v>
                      </c:pt>
                      <c:pt idx="3">
                        <c:v>Agilidad y Potencial</c:v>
                      </c:pt>
                    </c:strCache>
                  </c:strRef>
                </c:cat>
                <c:val>
                  <c:numRef>
                    <c:extLst xmlns:c15="http://schemas.microsoft.com/office/drawing/2012/chart">
                      <c:ext xmlns:c15="http://schemas.microsoft.com/office/drawing/2012/chart" uri="{02D57815-91ED-43cb-92C2-25804820EDAC}">
                        <c15:formulaRef>
                          <c15:sqref>Sheet1!$F$4:$F$9</c15:sqref>
                        </c15:formulaRef>
                      </c:ext>
                    </c:extLst>
                    <c:numCache>
                      <c:formatCode>General</c:formatCode>
                      <c:ptCount val="6"/>
                    </c:numCache>
                  </c:numRef>
                </c:val>
              </c15:ser>
            </c15:filteredBarSeries>
          </c:ext>
        </c:extLst>
      </c:bar3DChart>
      <c:catAx>
        <c:axId val="31156480"/>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1" i="0" u="none" strike="noStrike" kern="1200" cap="all" baseline="0">
                <a:solidFill>
                  <a:schemeClr val="dk1">
                    <a:lumMod val="75000"/>
                    <a:lumOff val="25000"/>
                  </a:schemeClr>
                </a:solidFill>
                <a:latin typeface="+mn-lt"/>
                <a:ea typeface="+mn-ea"/>
                <a:cs typeface="+mn-cs"/>
              </a:defRPr>
            </a:pPr>
            <a:endParaRPr lang="es-ES"/>
          </a:p>
        </c:txPr>
        <c:crossAx val="33662080"/>
        <c:crosses val="autoZero"/>
        <c:auto val="1"/>
        <c:lblAlgn val="ctr"/>
        <c:lblOffset val="100"/>
        <c:noMultiLvlLbl val="0"/>
      </c:catAx>
      <c:valAx>
        <c:axId val="3366208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endParaRPr lang="es-ES"/>
          </a:p>
        </c:txPr>
        <c:crossAx val="31156480"/>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E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title>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ES"/>
        </a:p>
      </c:txPr>
    </c:title>
    <c:autoTitleDeleted val="0"/>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3"/>
          <c:order val="0"/>
          <c:tx>
            <c:strRef>
              <c:f>Sheet1!$E$30</c:f>
              <c:strCache>
                <c:ptCount val="1"/>
                <c:pt idx="0">
                  <c:v>Promoción a Gestión</c:v>
                </c:pt>
              </c:strCache>
            </c:strRef>
          </c:tx>
          <c:spPr>
            <a:solidFill>
              <a:schemeClr val="accent1">
                <a:shade val="76000"/>
                <a:alpha val="85000"/>
              </a:schemeClr>
            </a:solidFill>
            <a:ln w="9525" cap="flat" cmpd="sng" algn="ctr">
              <a:solidFill>
                <a:schemeClr val="accent1">
                  <a:shade val="76000"/>
                  <a:lumMod val="75000"/>
                </a:schemeClr>
              </a:solidFill>
              <a:round/>
            </a:ln>
            <a:effectLst/>
            <a:sp3d contourW="9525">
              <a:contourClr>
                <a:schemeClr val="accent1">
                  <a:shade val="76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dk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31:$A$36</c:f>
              <c:strCache>
                <c:ptCount val="4"/>
                <c:pt idx="0">
                  <c:v>Conocimientos y Experiencia</c:v>
                </c:pt>
                <c:pt idx="1">
                  <c:v>Capacidades de liderazgo</c:v>
                </c:pt>
                <c:pt idx="2">
                  <c:v>Cultura y valores</c:v>
                </c:pt>
                <c:pt idx="3">
                  <c:v>Agilidad y Potencial</c:v>
                </c:pt>
              </c:strCache>
            </c:strRef>
          </c:cat>
          <c:val>
            <c:numRef>
              <c:f>Sheet1!$E$31:$E$36</c:f>
              <c:numCache>
                <c:formatCode>General</c:formatCode>
                <c:ptCount val="6"/>
                <c:pt idx="0">
                  <c:v>30</c:v>
                </c:pt>
                <c:pt idx="1">
                  <c:v>25</c:v>
                </c:pt>
                <c:pt idx="2">
                  <c:v>25</c:v>
                </c:pt>
                <c:pt idx="3">
                  <c:v>20</c:v>
                </c:pt>
              </c:numCache>
            </c:numRef>
          </c:val>
        </c:ser>
        <c:dLbls>
          <c:showLegendKey val="0"/>
          <c:showVal val="1"/>
          <c:showCatName val="0"/>
          <c:showSerName val="0"/>
          <c:showPercent val="0"/>
          <c:showBubbleSize val="0"/>
        </c:dLbls>
        <c:gapWidth val="65"/>
        <c:shape val="box"/>
        <c:axId val="34263424"/>
        <c:axId val="34266112"/>
        <c:axId val="0"/>
        <c:extLst>
          <c:ext xmlns:c15="http://schemas.microsoft.com/office/drawing/2012/chart" uri="{02D57815-91ED-43cb-92C2-25804820EDAC}">
            <c15:filteredBarSeries>
              <c15:ser>
                <c:idx val="0"/>
                <c:order val="0"/>
                <c:tx>
                  <c:strRef>
                    <c:extLst>
                      <c:ext uri="{02D57815-91ED-43cb-92C2-25804820EDAC}">
                        <c15:formulaRef>
                          <c15:sqref>Sheet1!$B$30</c15:sqref>
                        </c15:formulaRef>
                      </c:ext>
                    </c:extLst>
                    <c:strCache>
                      <c:ptCount val="1"/>
                    </c:strCache>
                  </c:strRef>
                </c:tx>
                <c:spPr>
                  <a:solidFill>
                    <a:schemeClr val="accent1">
                      <a:tint val="54000"/>
                      <a:alpha val="85000"/>
                    </a:schemeClr>
                  </a:solidFill>
                  <a:ln w="9525" cap="flat" cmpd="sng" algn="ctr">
                    <a:solidFill>
                      <a:schemeClr val="accent1">
                        <a:tint val="54000"/>
                        <a:lumMod val="75000"/>
                      </a:schemeClr>
                    </a:solidFill>
                    <a:round/>
                  </a:ln>
                  <a:effectLst/>
                  <a:sp3d contourW="9525">
                    <a:contourClr>
                      <a:schemeClr val="accent1">
                        <a:tint val="54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a:solidFill>
                              <a:schemeClr val="dk1">
                                <a:lumMod val="50000"/>
                                <a:lumOff val="50000"/>
                              </a:schemeClr>
                            </a:solidFill>
                          </a:ln>
                          <a:effectLst/>
                        </c:spPr>
                      </c15:leaderLines>
                    </c:ext>
                  </c:extLst>
                </c:dLbls>
                <c:cat>
                  <c:strRef>
                    <c:extLst>
                      <c:ext uri="{02D57815-91ED-43cb-92C2-25804820EDAC}">
                        <c15:formulaRef>
                          <c15:sqref>Sheet1!$A$31:$A$36</c15:sqref>
                        </c15:formulaRef>
                      </c:ext>
                    </c:extLst>
                    <c:strCache>
                      <c:ptCount val="4"/>
                      <c:pt idx="0">
                        <c:v>Conocimientos y Experiencia</c:v>
                      </c:pt>
                      <c:pt idx="1">
                        <c:v>Capacidades de liderazgo</c:v>
                      </c:pt>
                      <c:pt idx="2">
                        <c:v>Cultura y valores</c:v>
                      </c:pt>
                      <c:pt idx="3">
                        <c:v>Agilidad y Potencial</c:v>
                      </c:pt>
                    </c:strCache>
                  </c:strRef>
                </c:cat>
                <c:val>
                  <c:numRef>
                    <c:extLst>
                      <c:ext uri="{02D57815-91ED-43cb-92C2-25804820EDAC}">
                        <c15:formulaRef>
                          <c15:sqref>Sheet1!$B$31:$B$36</c15:sqref>
                        </c15:formulaRef>
                      </c:ext>
                    </c:extLst>
                    <c:numCache>
                      <c:formatCode>General</c:formatCode>
                      <c:ptCount val="6"/>
                    </c:numCache>
                  </c:numRef>
                </c:val>
              </c15:ser>
            </c15:filteredBarSeries>
            <c15:filteredBarSeries>
              <c15:ser>
                <c:idx val="1"/>
                <c:order val="1"/>
                <c:tx>
                  <c:strRef>
                    <c:extLst xmlns:c15="http://schemas.microsoft.com/office/drawing/2012/chart">
                      <c:ext xmlns:c15="http://schemas.microsoft.com/office/drawing/2012/chart" uri="{02D57815-91ED-43cb-92C2-25804820EDAC}">
                        <c15:formulaRef>
                          <c15:sqref>Sheet1!$C$30</c15:sqref>
                        </c15:formulaRef>
                      </c:ext>
                    </c:extLst>
                    <c:strCache>
                      <c:ptCount val="1"/>
                    </c:strCache>
                  </c:strRef>
                </c:tx>
                <c:spPr>
                  <a:solidFill>
                    <a:schemeClr val="accent1">
                      <a:tint val="77000"/>
                      <a:alpha val="85000"/>
                    </a:schemeClr>
                  </a:solidFill>
                  <a:ln w="9525" cap="flat" cmpd="sng" algn="ctr">
                    <a:solidFill>
                      <a:schemeClr val="accent1">
                        <a:tint val="77000"/>
                        <a:lumMod val="75000"/>
                      </a:schemeClr>
                    </a:solidFill>
                    <a:round/>
                  </a:ln>
                  <a:effectLst/>
                  <a:sp3d contourW="9525">
                    <a:contourClr>
                      <a:schemeClr val="accent1">
                        <a:tint val="77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A$31:$A$36</c15:sqref>
                        </c15:formulaRef>
                      </c:ext>
                    </c:extLst>
                    <c:strCache>
                      <c:ptCount val="4"/>
                      <c:pt idx="0">
                        <c:v>Conocimientos y Experiencia</c:v>
                      </c:pt>
                      <c:pt idx="1">
                        <c:v>Capacidades de liderazgo</c:v>
                      </c:pt>
                      <c:pt idx="2">
                        <c:v>Cultura y valores</c:v>
                      </c:pt>
                      <c:pt idx="3">
                        <c:v>Agilidad y Potencial</c:v>
                      </c:pt>
                    </c:strCache>
                  </c:strRef>
                </c:cat>
                <c:val>
                  <c:numRef>
                    <c:extLst xmlns:c15="http://schemas.microsoft.com/office/drawing/2012/chart">
                      <c:ext xmlns:c15="http://schemas.microsoft.com/office/drawing/2012/chart" uri="{02D57815-91ED-43cb-92C2-25804820EDAC}">
                        <c15:formulaRef>
                          <c15:sqref>Sheet1!$C$31:$C$36</c15:sqref>
                        </c15:formulaRef>
                      </c:ext>
                    </c:extLst>
                    <c:numCache>
                      <c:formatCode>General</c:formatCode>
                      <c:ptCount val="6"/>
                    </c:numCache>
                  </c:numRef>
                </c:val>
              </c15:ser>
            </c15:filteredBarSeries>
            <c15:filteredBarSeries>
              <c15:ser>
                <c:idx val="2"/>
                <c:order val="2"/>
                <c:tx>
                  <c:strRef>
                    <c:extLst xmlns:c15="http://schemas.microsoft.com/office/drawing/2012/chart">
                      <c:ext xmlns:c15="http://schemas.microsoft.com/office/drawing/2012/chart" uri="{02D57815-91ED-43cb-92C2-25804820EDAC}">
                        <c15:formulaRef>
                          <c15:sqref>Sheet1!$D$30</c15:sqref>
                        </c15:formulaRef>
                      </c:ext>
                    </c:extLst>
                    <c:strCache>
                      <c:ptCount val="1"/>
                    </c:strCache>
                  </c:strRef>
                </c:tx>
                <c:spPr>
                  <a:solidFill>
                    <a:schemeClr val="accent1">
                      <a:alpha val="85000"/>
                    </a:schemeClr>
                  </a:solidFill>
                  <a:ln w="9525" cap="flat" cmpd="sng" algn="ctr">
                    <a:solidFill>
                      <a:schemeClr val="accent1">
                        <a:lumMod val="75000"/>
                      </a:schemeClr>
                    </a:solidFill>
                    <a:round/>
                  </a:ln>
                  <a:effectLst/>
                  <a:sp3d contourW="9525">
                    <a:contourClr>
                      <a:schemeClr val="accent1">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A$31:$A$36</c15:sqref>
                        </c15:formulaRef>
                      </c:ext>
                    </c:extLst>
                    <c:strCache>
                      <c:ptCount val="4"/>
                      <c:pt idx="0">
                        <c:v>Conocimientos y Experiencia</c:v>
                      </c:pt>
                      <c:pt idx="1">
                        <c:v>Capacidades de liderazgo</c:v>
                      </c:pt>
                      <c:pt idx="2">
                        <c:v>Cultura y valores</c:v>
                      </c:pt>
                      <c:pt idx="3">
                        <c:v>Agilidad y Potencial</c:v>
                      </c:pt>
                    </c:strCache>
                  </c:strRef>
                </c:cat>
                <c:val>
                  <c:numRef>
                    <c:extLst xmlns:c15="http://schemas.microsoft.com/office/drawing/2012/chart">
                      <c:ext xmlns:c15="http://schemas.microsoft.com/office/drawing/2012/chart" uri="{02D57815-91ED-43cb-92C2-25804820EDAC}">
                        <c15:formulaRef>
                          <c15:sqref>Sheet1!$D$31:$D$36</c15:sqref>
                        </c15:formulaRef>
                      </c:ext>
                    </c:extLst>
                    <c:numCache>
                      <c:formatCode>General</c:formatCode>
                      <c:ptCount val="6"/>
                    </c:numCache>
                  </c:numRef>
                </c:val>
              </c15:ser>
            </c15:filteredBarSeries>
            <c15:filteredBarSeries>
              <c15:ser>
                <c:idx val="4"/>
                <c:order val="4"/>
                <c:tx>
                  <c:strRef>
                    <c:extLst xmlns:c15="http://schemas.microsoft.com/office/drawing/2012/chart">
                      <c:ext xmlns:c15="http://schemas.microsoft.com/office/drawing/2012/chart" uri="{02D57815-91ED-43cb-92C2-25804820EDAC}">
                        <c15:formulaRef>
                          <c15:sqref>Sheet1!$F$30</c15:sqref>
                        </c15:formulaRef>
                      </c:ext>
                    </c:extLst>
                    <c:strCache>
                      <c:ptCount val="1"/>
                    </c:strCache>
                  </c:strRef>
                </c:tx>
                <c:spPr>
                  <a:solidFill>
                    <a:schemeClr val="accent1">
                      <a:shade val="53000"/>
                      <a:alpha val="85000"/>
                    </a:schemeClr>
                  </a:solidFill>
                  <a:ln w="9525" cap="flat" cmpd="sng" algn="ctr">
                    <a:solidFill>
                      <a:schemeClr val="accent1">
                        <a:shade val="53000"/>
                        <a:lumMod val="75000"/>
                      </a:schemeClr>
                    </a:solidFill>
                    <a:round/>
                  </a:ln>
                  <a:effectLst/>
                  <a:sp3d contourW="9525">
                    <a:contourClr>
                      <a:schemeClr val="accent1">
                        <a:shade val="53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A$31:$A$36</c15:sqref>
                        </c15:formulaRef>
                      </c:ext>
                    </c:extLst>
                    <c:strCache>
                      <c:ptCount val="4"/>
                      <c:pt idx="0">
                        <c:v>Conocimientos y Experiencia</c:v>
                      </c:pt>
                      <c:pt idx="1">
                        <c:v>Capacidades de liderazgo</c:v>
                      </c:pt>
                      <c:pt idx="2">
                        <c:v>Cultura y valores</c:v>
                      </c:pt>
                      <c:pt idx="3">
                        <c:v>Agilidad y Potencial</c:v>
                      </c:pt>
                    </c:strCache>
                  </c:strRef>
                </c:cat>
                <c:val>
                  <c:numRef>
                    <c:extLst xmlns:c15="http://schemas.microsoft.com/office/drawing/2012/chart">
                      <c:ext xmlns:c15="http://schemas.microsoft.com/office/drawing/2012/chart" uri="{02D57815-91ED-43cb-92C2-25804820EDAC}">
                        <c15:formulaRef>
                          <c15:sqref>Sheet1!$F$31:$F$36</c15:sqref>
                        </c15:formulaRef>
                      </c:ext>
                    </c:extLst>
                    <c:numCache>
                      <c:formatCode>General</c:formatCode>
                      <c:ptCount val="6"/>
                    </c:numCache>
                  </c:numRef>
                </c:val>
              </c15:ser>
            </c15:filteredBarSeries>
          </c:ext>
        </c:extLst>
      </c:bar3DChart>
      <c:catAx>
        <c:axId val="34263424"/>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1" i="0" u="none" strike="noStrike" kern="1200" cap="all" baseline="0">
                <a:solidFill>
                  <a:schemeClr val="dk1">
                    <a:lumMod val="75000"/>
                    <a:lumOff val="25000"/>
                  </a:schemeClr>
                </a:solidFill>
                <a:latin typeface="+mn-lt"/>
                <a:ea typeface="+mn-ea"/>
                <a:cs typeface="+mn-cs"/>
              </a:defRPr>
            </a:pPr>
            <a:endParaRPr lang="es-ES"/>
          </a:p>
        </c:txPr>
        <c:crossAx val="34266112"/>
        <c:crosses val="autoZero"/>
        <c:auto val="1"/>
        <c:lblAlgn val="ctr"/>
        <c:lblOffset val="100"/>
        <c:noMultiLvlLbl val="0"/>
      </c:catAx>
      <c:valAx>
        <c:axId val="34266112"/>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endParaRPr lang="es-ES"/>
          </a:p>
        </c:txPr>
        <c:crossAx val="34263424"/>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E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Alto Directivo</a:t>
            </a:r>
          </a:p>
        </c:rich>
      </c:tx>
      <c:layout/>
      <c:overlay val="0"/>
      <c:spPr>
        <a:noFill/>
        <a:ln>
          <a:noFill/>
        </a:ln>
        <a:effectLst/>
      </c:spPr>
    </c:title>
    <c:autoTitleDeleted val="0"/>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3"/>
          <c:order val="0"/>
          <c:tx>
            <c:strRef>
              <c:f>Sheet1!$E$51</c:f>
              <c:strCache>
                <c:ptCount val="1"/>
                <c:pt idx="0">
                  <c:v>Alto Directivo</c:v>
                </c:pt>
              </c:strCache>
            </c:strRef>
          </c:tx>
          <c:spPr>
            <a:solidFill>
              <a:schemeClr val="accent3">
                <a:shade val="58000"/>
                <a:alpha val="85000"/>
              </a:schemeClr>
            </a:solidFill>
            <a:ln w="9525" cap="flat" cmpd="sng" algn="ctr">
              <a:solidFill>
                <a:schemeClr val="accent3">
                  <a:shade val="58000"/>
                  <a:lumMod val="75000"/>
                </a:schemeClr>
              </a:solidFill>
              <a:round/>
            </a:ln>
            <a:effectLst/>
            <a:sp3d contourW="9525">
              <a:contourClr>
                <a:schemeClr val="accent3">
                  <a:shade val="58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dk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52:$A$55,Sheet1!$A$57)</c:f>
              <c:strCache>
                <c:ptCount val="4"/>
                <c:pt idx="0">
                  <c:v>Conocimientos y Experiencia</c:v>
                </c:pt>
                <c:pt idx="1">
                  <c:v>Capacidades de liderazgo</c:v>
                </c:pt>
                <c:pt idx="2">
                  <c:v>Cultura y valores</c:v>
                </c:pt>
                <c:pt idx="3">
                  <c:v>Agilidad y Potencial</c:v>
                </c:pt>
              </c:strCache>
              <c:extLst>
                <c:ext xmlns:c15="http://schemas.microsoft.com/office/drawing/2012/chart" uri="{02D57815-91ED-43cb-92C2-25804820EDAC}">
                  <c15:fullRef>
                    <c15:sqref>Sheet1!$A$52:$A$57</c15:sqref>
                  </c15:fullRef>
                </c:ext>
              </c:extLst>
            </c:strRef>
          </c:cat>
          <c:val>
            <c:numRef>
              <c:f>(Sheet1!$E$52:$E$55,Sheet1!$E$57)</c:f>
              <c:numCache>
                <c:formatCode>General</c:formatCode>
                <c:ptCount val="5"/>
                <c:pt idx="0">
                  <c:v>15</c:v>
                </c:pt>
                <c:pt idx="1">
                  <c:v>30</c:v>
                </c:pt>
                <c:pt idx="2">
                  <c:v>20</c:v>
                </c:pt>
                <c:pt idx="3">
                  <c:v>35</c:v>
                </c:pt>
              </c:numCache>
              <c:extLst>
                <c:ext xmlns:c15="http://schemas.microsoft.com/office/drawing/2012/chart" uri="{02D57815-91ED-43cb-92C2-25804820EDAC}">
                  <c15:fullRef>
                    <c15:sqref>Sheet1!$E$52:$E$57</c15:sqref>
                  </c15:fullRef>
                </c:ext>
              </c:extLst>
            </c:numRef>
          </c:val>
        </c:ser>
        <c:dLbls>
          <c:showLegendKey val="0"/>
          <c:showVal val="1"/>
          <c:showCatName val="0"/>
          <c:showSerName val="0"/>
          <c:showPercent val="0"/>
          <c:showBubbleSize val="0"/>
        </c:dLbls>
        <c:gapWidth val="65"/>
        <c:shape val="box"/>
        <c:axId val="34720768"/>
        <c:axId val="34748288"/>
        <c:axId val="0"/>
        <c:extLst>
          <c:ext xmlns:c15="http://schemas.microsoft.com/office/drawing/2012/chart" uri="{02D57815-91ED-43cb-92C2-25804820EDAC}">
            <c15:filteredBarSeries>
              <c15:ser>
                <c:idx val="0"/>
                <c:order val="0"/>
                <c:tx>
                  <c:strRef>
                    <c:extLst>
                      <c:ext uri="{02D57815-91ED-43cb-92C2-25804820EDAC}">
                        <c15:formulaRef>
                          <c15:sqref>Sheet1!$B$51</c15:sqref>
                        </c15:formulaRef>
                      </c:ext>
                    </c:extLst>
                    <c:strCache>
                      <c:ptCount val="1"/>
                    </c:strCache>
                  </c:strRef>
                </c:tx>
                <c:spPr>
                  <a:solidFill>
                    <a:schemeClr val="accent3">
                      <a:tint val="58000"/>
                      <a:alpha val="85000"/>
                    </a:schemeClr>
                  </a:solidFill>
                  <a:ln w="9525" cap="flat" cmpd="sng" algn="ctr">
                    <a:solidFill>
                      <a:schemeClr val="accent3">
                        <a:tint val="58000"/>
                        <a:lumMod val="75000"/>
                      </a:schemeClr>
                    </a:solidFill>
                    <a:round/>
                  </a:ln>
                  <a:effectLst/>
                  <a:sp3d contourW="9525">
                    <a:contourClr>
                      <a:schemeClr val="accent3">
                        <a:tint val="58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a:solidFill>
                              <a:schemeClr val="dk1">
                                <a:lumMod val="50000"/>
                                <a:lumOff val="50000"/>
                              </a:schemeClr>
                            </a:solidFill>
                          </a:ln>
                          <a:effectLst/>
                        </c:spPr>
                      </c15:leaderLines>
                    </c:ext>
                  </c:extLst>
                </c:dLbls>
                <c:cat>
                  <c:strRef>
                    <c:extLst>
                      <c:ext uri="{02D57815-91ED-43cb-92C2-25804820EDAC}">
                        <c15:fullRef>
                          <c15:sqref>Sheet1!$A$52:$A$57</c15:sqref>
                        </c15:fullRef>
                        <c15:formulaRef>
                          <c15:sqref>(Sheet1!$A$52:$A$55,Sheet1!$A$57)</c15:sqref>
                        </c15:formulaRef>
                      </c:ext>
                    </c:extLst>
                    <c:strCache>
                      <c:ptCount val="4"/>
                      <c:pt idx="0">
                        <c:v>Conocimientos y Experiencia</c:v>
                      </c:pt>
                      <c:pt idx="1">
                        <c:v>Capacidades de liderazgo</c:v>
                      </c:pt>
                      <c:pt idx="2">
                        <c:v>Cultura y valores</c:v>
                      </c:pt>
                      <c:pt idx="3">
                        <c:v>Agilidad y Potencial</c:v>
                      </c:pt>
                    </c:strCache>
                  </c:strRef>
                </c:cat>
                <c:val>
                  <c:numRef>
                    <c:extLst>
                      <c:ext uri="{02D57815-91ED-43cb-92C2-25804820EDAC}">
                        <c15:fullRef>
                          <c15:sqref>Sheet1!$B$52:$B$57</c15:sqref>
                        </c15:fullRef>
                        <c15:formulaRef>
                          <c15:sqref>(Sheet1!$B$52:$B$55,Sheet1!$B$57)</c15:sqref>
                        </c15:formulaRef>
                      </c:ext>
                    </c:extLst>
                    <c:numCache>
                      <c:formatCode>General</c:formatCode>
                      <c:ptCount val="5"/>
                    </c:numCache>
                  </c:numRef>
                </c:val>
              </c15:ser>
            </c15:filteredBarSeries>
            <c15:filteredBarSeries>
              <c15:ser>
                <c:idx val="1"/>
                <c:order val="1"/>
                <c:tx>
                  <c:strRef>
                    <c:extLst xmlns:c15="http://schemas.microsoft.com/office/drawing/2012/chart">
                      <c:ext xmlns:c15="http://schemas.microsoft.com/office/drawing/2012/chart" uri="{02D57815-91ED-43cb-92C2-25804820EDAC}">
                        <c15:formulaRef>
                          <c15:sqref>Sheet1!$C$51</c15:sqref>
                        </c15:formulaRef>
                      </c:ext>
                    </c:extLst>
                    <c:strCache>
                      <c:ptCount val="1"/>
                    </c:strCache>
                  </c:strRef>
                </c:tx>
                <c:spPr>
                  <a:solidFill>
                    <a:schemeClr val="accent3">
                      <a:tint val="86000"/>
                      <a:alpha val="85000"/>
                    </a:schemeClr>
                  </a:solidFill>
                  <a:ln w="9525" cap="flat" cmpd="sng" algn="ctr">
                    <a:solidFill>
                      <a:schemeClr val="accent3">
                        <a:tint val="86000"/>
                        <a:lumMod val="75000"/>
                      </a:schemeClr>
                    </a:solidFill>
                    <a:round/>
                  </a:ln>
                  <a:effectLst/>
                  <a:sp3d contourW="9525">
                    <a:contourClr>
                      <a:schemeClr val="accent3">
                        <a:tint val="86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c:ext xmlns:c15="http://schemas.microsoft.com/office/drawing/2012/chart" uri="{02D57815-91ED-43cb-92C2-25804820EDAC}">
                        <c15:fullRef>
                          <c15:sqref>Sheet1!$A$52:$A$57</c15:sqref>
                        </c15:fullRef>
                        <c15:formulaRef>
                          <c15:sqref>(Sheet1!$A$52:$A$55,Sheet1!$A$57)</c15:sqref>
                        </c15:formulaRef>
                      </c:ext>
                    </c:extLst>
                    <c:strCache>
                      <c:ptCount val="4"/>
                      <c:pt idx="0">
                        <c:v>Conocimientos y Experiencia</c:v>
                      </c:pt>
                      <c:pt idx="1">
                        <c:v>Capacidades de liderazgo</c:v>
                      </c:pt>
                      <c:pt idx="2">
                        <c:v>Cultura y valores</c:v>
                      </c:pt>
                      <c:pt idx="3">
                        <c:v>Agilidad y Potencial</c:v>
                      </c:pt>
                    </c:strCache>
                  </c:strRef>
                </c:cat>
                <c:val>
                  <c:numRef>
                    <c:extLst>
                      <c:ext xmlns:c15="http://schemas.microsoft.com/office/drawing/2012/chart" uri="{02D57815-91ED-43cb-92C2-25804820EDAC}">
                        <c15:fullRef>
                          <c15:sqref>Sheet1!$C$52:$C$57</c15:sqref>
                        </c15:fullRef>
                        <c15:formulaRef>
                          <c15:sqref>(Sheet1!$C$52:$C$55,Sheet1!$C$57)</c15:sqref>
                        </c15:formulaRef>
                      </c:ext>
                    </c:extLst>
                    <c:numCache>
                      <c:formatCode>General</c:formatCode>
                      <c:ptCount val="5"/>
                    </c:numCache>
                  </c:numRef>
                </c:val>
              </c15:ser>
            </c15:filteredBarSeries>
            <c15:filteredBarSeries>
              <c15:ser>
                <c:idx val="2"/>
                <c:order val="2"/>
                <c:tx>
                  <c:strRef>
                    <c:extLst xmlns:c15="http://schemas.microsoft.com/office/drawing/2012/chart">
                      <c:ext xmlns:c15="http://schemas.microsoft.com/office/drawing/2012/chart" uri="{02D57815-91ED-43cb-92C2-25804820EDAC}">
                        <c15:formulaRef>
                          <c15:sqref>Sheet1!$D$51</c15:sqref>
                        </c15:formulaRef>
                      </c:ext>
                    </c:extLst>
                    <c:strCache>
                      <c:ptCount val="1"/>
                    </c:strCache>
                  </c:strRef>
                </c:tx>
                <c:spPr>
                  <a:solidFill>
                    <a:schemeClr val="accent3">
                      <a:shade val="86000"/>
                      <a:alpha val="85000"/>
                    </a:schemeClr>
                  </a:solidFill>
                  <a:ln w="9525" cap="flat" cmpd="sng" algn="ctr">
                    <a:solidFill>
                      <a:schemeClr val="accent3">
                        <a:shade val="86000"/>
                        <a:lumMod val="75000"/>
                      </a:schemeClr>
                    </a:solidFill>
                    <a:round/>
                  </a:ln>
                  <a:effectLst/>
                  <a:sp3d contourW="9525">
                    <a:contourClr>
                      <a:schemeClr val="accent3">
                        <a:shade val="86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extLst>
                      <c:ext xmlns:c15="http://schemas.microsoft.com/office/drawing/2012/chart" uri="{02D57815-91ED-43cb-92C2-25804820EDAC}">
                        <c15:fullRef>
                          <c15:sqref>Sheet1!$A$52:$A$57</c15:sqref>
                        </c15:fullRef>
                        <c15:formulaRef>
                          <c15:sqref>(Sheet1!$A$52:$A$55,Sheet1!$A$57)</c15:sqref>
                        </c15:formulaRef>
                      </c:ext>
                    </c:extLst>
                    <c:strCache>
                      <c:ptCount val="4"/>
                      <c:pt idx="0">
                        <c:v>Conocimientos y Experiencia</c:v>
                      </c:pt>
                      <c:pt idx="1">
                        <c:v>Capacidades de liderazgo</c:v>
                      </c:pt>
                      <c:pt idx="2">
                        <c:v>Cultura y valores</c:v>
                      </c:pt>
                      <c:pt idx="3">
                        <c:v>Agilidad y Potencial</c:v>
                      </c:pt>
                    </c:strCache>
                  </c:strRef>
                </c:cat>
                <c:val>
                  <c:numRef>
                    <c:extLst>
                      <c:ext xmlns:c15="http://schemas.microsoft.com/office/drawing/2012/chart" uri="{02D57815-91ED-43cb-92C2-25804820EDAC}">
                        <c15:fullRef>
                          <c15:sqref>Sheet1!$D$52:$D$57</c15:sqref>
                        </c15:fullRef>
                        <c15:formulaRef>
                          <c15:sqref>(Sheet1!$D$52:$D$55,Sheet1!$D$57)</c15:sqref>
                        </c15:formulaRef>
                      </c:ext>
                    </c:extLst>
                    <c:numCache>
                      <c:formatCode>General</c:formatCode>
                      <c:ptCount val="5"/>
                    </c:numCache>
                  </c:numRef>
                </c:val>
              </c15:ser>
            </c15:filteredBarSeries>
          </c:ext>
        </c:extLst>
      </c:bar3DChart>
      <c:catAx>
        <c:axId val="34720768"/>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1" i="0" u="none" strike="noStrike" kern="1200" cap="all" baseline="0">
                <a:solidFill>
                  <a:schemeClr val="dk1">
                    <a:lumMod val="75000"/>
                    <a:lumOff val="25000"/>
                  </a:schemeClr>
                </a:solidFill>
                <a:latin typeface="+mn-lt"/>
                <a:ea typeface="+mn-ea"/>
                <a:cs typeface="+mn-cs"/>
              </a:defRPr>
            </a:pPr>
            <a:endParaRPr lang="es-ES"/>
          </a:p>
        </c:txPr>
        <c:crossAx val="34748288"/>
        <c:crosses val="autoZero"/>
        <c:auto val="1"/>
        <c:lblAlgn val="ctr"/>
        <c:lblOffset val="100"/>
        <c:noMultiLvlLbl val="0"/>
      </c:catAx>
      <c:valAx>
        <c:axId val="34748288"/>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endParaRPr lang="es-ES"/>
          </a:p>
        </c:txPr>
        <c:crossAx val="34720768"/>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ES"/>
    </a:p>
  </c:txPr>
  <c:externalData r:id="rId2">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93796" y="46760"/>
            <a:ext cx="4781914" cy="123111"/>
          </a:xfrm>
          <a:prstGeom prst="rect">
            <a:avLst/>
          </a:prstGeom>
        </p:spPr>
        <p:txBody>
          <a:bodyPr vert="horz" lIns="0" tIns="0" rIns="0" bIns="0" rtlCol="0">
            <a:spAutoFit/>
          </a:bodyPr>
          <a:lstStyle>
            <a:lvl1pPr algn="l">
              <a:defRPr sz="1100"/>
            </a:lvl1pPr>
          </a:lstStyle>
          <a:p>
            <a:endParaRPr lang="en-US" sz="800" dirty="0">
              <a:solidFill>
                <a:schemeClr val="tx1">
                  <a:lumMod val="50000"/>
                  <a:lumOff val="50000"/>
                </a:schemeClr>
              </a:solidFill>
            </a:endParaRPr>
          </a:p>
        </p:txBody>
      </p:sp>
      <p:sp>
        <p:nvSpPr>
          <p:cNvPr id="3" name="Date Placeholder 2"/>
          <p:cNvSpPr>
            <a:spLocks noGrp="1"/>
          </p:cNvSpPr>
          <p:nvPr>
            <p:ph type="dt" sz="quarter" idx="1"/>
          </p:nvPr>
        </p:nvSpPr>
        <p:spPr>
          <a:xfrm>
            <a:off x="5401902" y="46760"/>
            <a:ext cx="1024696" cy="123111"/>
          </a:xfrm>
          <a:prstGeom prst="rect">
            <a:avLst/>
          </a:prstGeom>
        </p:spPr>
        <p:txBody>
          <a:bodyPr vert="horz" lIns="0" tIns="0" rIns="0" bIns="0" rtlCol="0">
            <a:spAutoFit/>
          </a:bodyPr>
          <a:lstStyle>
            <a:lvl1pPr algn="r">
              <a:defRPr sz="1100"/>
            </a:lvl1pPr>
          </a:lstStyle>
          <a:p>
            <a:fld id="{0D08EC8C-781B-470F-9426-1C94BA54B016}" type="datetimeFigureOut">
              <a:rPr lang="en-US" sz="800">
                <a:solidFill>
                  <a:schemeClr val="tx1">
                    <a:lumMod val="50000"/>
                    <a:lumOff val="50000"/>
                  </a:schemeClr>
                </a:solidFill>
              </a:rPr>
              <a:t>5/28/2018</a:t>
            </a:fld>
            <a:endParaRPr lang="en-US" sz="800" dirty="0">
              <a:solidFill>
                <a:schemeClr val="tx1">
                  <a:lumMod val="50000"/>
                  <a:lumOff val="50000"/>
                </a:schemeClr>
              </a:solidFill>
            </a:endParaRPr>
          </a:p>
        </p:txBody>
      </p:sp>
      <p:sp>
        <p:nvSpPr>
          <p:cNvPr id="4" name="Footer Placeholder 3"/>
          <p:cNvSpPr>
            <a:spLocks noGrp="1"/>
          </p:cNvSpPr>
          <p:nvPr>
            <p:ph type="ftr" sz="quarter" idx="2"/>
          </p:nvPr>
        </p:nvSpPr>
        <p:spPr>
          <a:xfrm>
            <a:off x="2616356" y="9598036"/>
            <a:ext cx="2919031" cy="123111"/>
          </a:xfrm>
          <a:prstGeom prst="rect">
            <a:avLst/>
          </a:prstGeom>
        </p:spPr>
        <p:txBody>
          <a:bodyPr vert="horz" lIns="0" tIns="0" rIns="0" bIns="0" rtlCol="0" anchor="b">
            <a:spAutoFit/>
          </a:bodyPr>
          <a:lstStyle>
            <a:lvl1pPr algn="l">
              <a:defRPr sz="1100"/>
            </a:lvl1pPr>
          </a:lstStyle>
          <a:p>
            <a:pPr algn="ctr"/>
            <a:endParaRPr lang="en-US" sz="800" dirty="0">
              <a:solidFill>
                <a:schemeClr val="tx1">
                  <a:lumMod val="50000"/>
                  <a:lumOff val="50000"/>
                </a:schemeClr>
              </a:solidFill>
            </a:endParaRPr>
          </a:p>
        </p:txBody>
      </p:sp>
      <p:sp>
        <p:nvSpPr>
          <p:cNvPr id="5" name="Slide Number Placeholder 4"/>
          <p:cNvSpPr>
            <a:spLocks noGrp="1"/>
          </p:cNvSpPr>
          <p:nvPr>
            <p:ph type="sldNum" sz="quarter" idx="3"/>
          </p:nvPr>
        </p:nvSpPr>
        <p:spPr>
          <a:xfrm>
            <a:off x="5743467" y="9598036"/>
            <a:ext cx="683131" cy="123111"/>
          </a:xfrm>
          <a:prstGeom prst="rect">
            <a:avLst/>
          </a:prstGeom>
        </p:spPr>
        <p:txBody>
          <a:bodyPr vert="horz" lIns="0" tIns="0" rIns="0" bIns="0" rtlCol="0" anchor="b">
            <a:spAutoFit/>
          </a:bodyPr>
          <a:lstStyle>
            <a:lvl1pPr algn="r">
              <a:defRPr sz="1100"/>
            </a:lvl1pPr>
          </a:lstStyle>
          <a:p>
            <a:fld id="{A12AD0A7-D2ED-47B4-A4D2-1A818DB433EF}" type="slidenum">
              <a:rPr lang="en-US" sz="800">
                <a:solidFill>
                  <a:schemeClr val="tx1">
                    <a:lumMod val="50000"/>
                    <a:lumOff val="50000"/>
                  </a:schemeClr>
                </a:solidFill>
              </a:rPr>
              <a:t>‹Nº›</a:t>
            </a:fld>
            <a:endParaRPr lang="en-US" sz="800" dirty="0">
              <a:solidFill>
                <a:schemeClr val="tx1">
                  <a:lumMod val="50000"/>
                  <a:lumOff val="50000"/>
                </a:schemeClr>
              </a:solidFill>
            </a:endParaRPr>
          </a:p>
        </p:txBody>
      </p:sp>
      <p:pic>
        <p:nvPicPr>
          <p:cNvPr id="6" name="Picture 85" descr="heidricklogo"/>
          <p:cNvPicPr>
            <a:picLocks noChangeAspect="1" noChangeArrowheads="1"/>
          </p:cNvPicPr>
          <p:nvPr/>
        </p:nvPicPr>
        <p:blipFill>
          <a:blip r:embed="rId2">
            <a:extLst>
              <a:ext uri="{28A0092B-C50C-407E-A947-70E740481C1C}">
                <a14:useLocalDpi xmlns:a14="http://schemas.microsoft.com/office/drawing/2010/main" val="0"/>
              </a:ext>
            </a:extLst>
          </a:blip>
          <a:srcRect l="-598" t="-13158" r="-1596" b="-26315"/>
          <a:stretch>
            <a:fillRect/>
          </a:stretch>
        </p:blipFill>
        <p:spPr bwMode="gray">
          <a:xfrm>
            <a:off x="293796" y="9558928"/>
            <a:ext cx="2313535" cy="16221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bwMode="gray">
          <a:xfrm>
            <a:off x="293794" y="9514661"/>
            <a:ext cx="6148176"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bwMode="gray">
          <a:xfrm>
            <a:off x="293794" y="212818"/>
            <a:ext cx="6148176"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2363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93453" y="53105"/>
            <a:ext cx="4781914" cy="123111"/>
          </a:xfrm>
          <a:prstGeom prst="rect">
            <a:avLst/>
          </a:prstGeom>
        </p:spPr>
        <p:txBody>
          <a:bodyPr vert="horz" lIns="0" tIns="0" rIns="0" bIns="0" rtlCol="0">
            <a:spAutoFit/>
          </a:bodyPr>
          <a:lstStyle>
            <a:lvl1pPr algn="l">
              <a:defRPr sz="800">
                <a:solidFill>
                  <a:schemeClr val="tx1">
                    <a:lumMod val="50000"/>
                    <a:lumOff val="50000"/>
                  </a:schemeClr>
                </a:solidFill>
              </a:defRPr>
            </a:lvl1pPr>
          </a:lstStyle>
          <a:p>
            <a:endParaRPr lang="en-US" noProof="0" dirty="0"/>
          </a:p>
        </p:txBody>
      </p:sp>
      <p:sp>
        <p:nvSpPr>
          <p:cNvPr id="3" name="Date Placeholder 2"/>
          <p:cNvSpPr>
            <a:spLocks noGrp="1"/>
          </p:cNvSpPr>
          <p:nvPr>
            <p:ph type="dt" idx="1"/>
          </p:nvPr>
        </p:nvSpPr>
        <p:spPr>
          <a:xfrm>
            <a:off x="5075367" y="53105"/>
            <a:ext cx="1366261" cy="123111"/>
          </a:xfrm>
          <a:prstGeom prst="rect">
            <a:avLst/>
          </a:prstGeom>
        </p:spPr>
        <p:txBody>
          <a:bodyPr vert="horz" lIns="0" tIns="0" rIns="0" bIns="0" rtlCol="0">
            <a:spAutoFit/>
          </a:bodyPr>
          <a:lstStyle>
            <a:lvl1pPr algn="r">
              <a:defRPr sz="800">
                <a:solidFill>
                  <a:schemeClr val="tx1">
                    <a:lumMod val="50000"/>
                    <a:lumOff val="50000"/>
                  </a:schemeClr>
                </a:solidFill>
              </a:defRPr>
            </a:lvl1pPr>
          </a:lstStyle>
          <a:p>
            <a:fld id="{794255EA-0C97-4865-9088-BE65209A9BA7}" type="datetimeFigureOut">
              <a:rPr lang="en-US" noProof="0" smtClean="0"/>
              <a:pPr/>
              <a:t>5/28/2018</a:t>
            </a:fld>
            <a:endParaRPr lang="en-US" noProof="0" dirty="0"/>
          </a:p>
        </p:txBody>
      </p:sp>
      <p:sp>
        <p:nvSpPr>
          <p:cNvPr id="4" name="Slide Image Placeholder 3"/>
          <p:cNvSpPr>
            <a:spLocks noGrp="1" noRot="1" noChangeAspect="1"/>
          </p:cNvSpPr>
          <p:nvPr>
            <p:ph type="sldImg" idx="2"/>
          </p:nvPr>
        </p:nvSpPr>
        <p:spPr>
          <a:xfrm>
            <a:off x="244475" y="295275"/>
            <a:ext cx="6246813" cy="4679950"/>
          </a:xfrm>
          <a:prstGeom prst="rect">
            <a:avLst/>
          </a:prstGeom>
          <a:noFill/>
          <a:ln w="12700">
            <a:solidFill>
              <a:schemeClr val="bg1">
                <a:lumMod val="75000"/>
              </a:schemeClr>
            </a:solidFill>
          </a:ln>
        </p:spPr>
        <p:txBody>
          <a:bodyPr vert="horz" lIns="93174" tIns="46587" rIns="93174" bIns="46587" rtlCol="0" anchor="ctr"/>
          <a:lstStyle/>
          <a:p>
            <a:endParaRPr lang="en-US" noProof="0" dirty="0"/>
          </a:p>
        </p:txBody>
      </p:sp>
      <p:sp>
        <p:nvSpPr>
          <p:cNvPr id="6" name="Footer Placeholder 5"/>
          <p:cNvSpPr>
            <a:spLocks noGrp="1"/>
          </p:cNvSpPr>
          <p:nvPr>
            <p:ph type="ftr" sz="quarter" idx="4"/>
          </p:nvPr>
        </p:nvSpPr>
        <p:spPr>
          <a:xfrm>
            <a:off x="2771954" y="9598036"/>
            <a:ext cx="2918831" cy="123111"/>
          </a:xfrm>
          <a:prstGeom prst="rect">
            <a:avLst/>
          </a:prstGeom>
        </p:spPr>
        <p:txBody>
          <a:bodyPr vert="horz" lIns="0" tIns="0" rIns="0" bIns="0" rtlCol="0" anchor="b">
            <a:spAutoFit/>
          </a:bodyPr>
          <a:lstStyle>
            <a:lvl1pPr algn="ctr">
              <a:defRPr sz="800">
                <a:solidFill>
                  <a:schemeClr val="tx1">
                    <a:lumMod val="50000"/>
                    <a:lumOff val="50000"/>
                  </a:schemeClr>
                </a:solidFill>
              </a:defRPr>
            </a:lvl1pPr>
          </a:lstStyle>
          <a:p>
            <a:endParaRPr lang="en-US" noProof="0" dirty="0"/>
          </a:p>
        </p:txBody>
      </p:sp>
      <p:sp>
        <p:nvSpPr>
          <p:cNvPr id="7" name="Slide Number Placeholder 6"/>
          <p:cNvSpPr>
            <a:spLocks noGrp="1"/>
          </p:cNvSpPr>
          <p:nvPr>
            <p:ph type="sldNum" sz="quarter" idx="5"/>
          </p:nvPr>
        </p:nvSpPr>
        <p:spPr>
          <a:xfrm>
            <a:off x="5758840" y="9598036"/>
            <a:ext cx="683131" cy="123111"/>
          </a:xfrm>
          <a:prstGeom prst="rect">
            <a:avLst/>
          </a:prstGeom>
        </p:spPr>
        <p:txBody>
          <a:bodyPr vert="horz" lIns="0" tIns="0" rIns="0" bIns="0" rtlCol="0" anchor="b">
            <a:spAutoFit/>
          </a:bodyPr>
          <a:lstStyle>
            <a:lvl1pPr algn="r">
              <a:defRPr sz="800">
                <a:solidFill>
                  <a:schemeClr val="tx1">
                    <a:lumMod val="50000"/>
                    <a:lumOff val="50000"/>
                  </a:schemeClr>
                </a:solidFill>
              </a:defRPr>
            </a:lvl1pPr>
          </a:lstStyle>
          <a:p>
            <a:fld id="{68F32C9A-A860-4D16-BD04-BD781DD962C2}" type="slidenum">
              <a:rPr lang="en-US" noProof="0" smtClean="0"/>
              <a:pPr/>
              <a:t>‹Nº›</a:t>
            </a:fld>
            <a:endParaRPr lang="en-US" noProof="0" dirty="0"/>
          </a:p>
        </p:txBody>
      </p:sp>
      <p:pic>
        <p:nvPicPr>
          <p:cNvPr id="8" name="Picture 85" descr="heidricklogo"/>
          <p:cNvPicPr>
            <a:picLocks noChangeAspect="1" noChangeArrowheads="1"/>
          </p:cNvPicPr>
          <p:nvPr/>
        </p:nvPicPr>
        <p:blipFill>
          <a:blip r:embed="rId2">
            <a:extLst>
              <a:ext uri="{28A0092B-C50C-407E-A947-70E740481C1C}">
                <a14:useLocalDpi xmlns:a14="http://schemas.microsoft.com/office/drawing/2010/main" val="0"/>
              </a:ext>
            </a:extLst>
          </a:blip>
          <a:srcRect l="-598" t="-13158" r="-1596" b="-26315"/>
          <a:stretch>
            <a:fillRect/>
          </a:stretch>
        </p:blipFill>
        <p:spPr bwMode="gray">
          <a:xfrm>
            <a:off x="293796" y="9558928"/>
            <a:ext cx="2313535" cy="162219"/>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bwMode="gray">
          <a:xfrm>
            <a:off x="293794" y="9514661"/>
            <a:ext cx="6148176"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293794" y="212818"/>
            <a:ext cx="6148176"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sp>
        <p:nvSpPr>
          <p:cNvPr id="12" name="Notes Placeholder 4"/>
          <p:cNvSpPr>
            <a:spLocks noGrp="1"/>
          </p:cNvSpPr>
          <p:nvPr>
            <p:ph type="body" sz="quarter" idx="3"/>
          </p:nvPr>
        </p:nvSpPr>
        <p:spPr>
          <a:xfrm>
            <a:off x="301687" y="5056326"/>
            <a:ext cx="6148176" cy="4319503"/>
          </a:xfrm>
          <a:prstGeom prst="rect">
            <a:avLst/>
          </a:prstGeom>
        </p:spPr>
        <p:txBody>
          <a:bodyPr vert="horz" lIns="86018" tIns="43009" rIns="86018" bIns="4300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25644000"/>
      </p:ext>
    </p:extLst>
  </p:cSld>
  <p:clrMap bg1="lt1" tx1="dk1" bg2="lt2" tx2="dk2" accent1="accent1" accent2="accent2" accent3="accent3" accent4="accent4" accent5="accent5" accent6="accent6" hlink="hlink" folHlink="folHlink"/>
  <p:notesStyle>
    <a:lvl1pPr marL="0" algn="l" defTabSz="1004011" rtl="0" eaLnBrk="1" latinLnBrk="0" hangingPunct="1">
      <a:spcBef>
        <a:spcPts val="1200"/>
      </a:spcBef>
      <a:defRPr lang="en-GB" sz="1200" b="1" kern="1200" noProof="0" dirty="0">
        <a:solidFill>
          <a:schemeClr val="tx2"/>
        </a:solidFill>
        <a:latin typeface="+mn-lt"/>
        <a:ea typeface="+mn-ea"/>
        <a:cs typeface="+mn-cs"/>
      </a:defRPr>
    </a:lvl1pPr>
    <a:lvl2pPr marL="0" indent="0" algn="l" defTabSz="1004011" rtl="0" eaLnBrk="1" latinLnBrk="0" hangingPunct="1">
      <a:spcBef>
        <a:spcPts val="400"/>
      </a:spcBef>
      <a:defRPr lang="en-GB" sz="1200" kern="1200" noProof="0" dirty="0" smtClean="0">
        <a:solidFill>
          <a:schemeClr val="tx1"/>
        </a:solidFill>
        <a:latin typeface="+mn-lt"/>
        <a:ea typeface="+mn-ea"/>
        <a:cs typeface="+mn-cs"/>
      </a:defRPr>
    </a:lvl2pPr>
    <a:lvl3pPr marL="360000" indent="-360000" algn="l" defTabSz="1004011" rtl="0" eaLnBrk="1" latinLnBrk="0" hangingPunct="1">
      <a:spcBef>
        <a:spcPts val="400"/>
      </a:spcBef>
      <a:buClr>
        <a:schemeClr val="tx2"/>
      </a:buClr>
      <a:buFont typeface="Garamond" pitchFamily="18" charset="0"/>
      <a:buChar char="►"/>
      <a:defRPr lang="en-GB" sz="1200" kern="1200" noProof="0" dirty="0" smtClean="0">
        <a:solidFill>
          <a:schemeClr val="tx1"/>
        </a:solidFill>
        <a:latin typeface="+mn-lt"/>
        <a:ea typeface="+mn-ea"/>
        <a:cs typeface="+mn-cs"/>
      </a:defRPr>
    </a:lvl3pPr>
    <a:lvl4pPr marL="720000" indent="-360000" algn="l" defTabSz="1004011" rtl="0" eaLnBrk="1" latinLnBrk="0" hangingPunct="1">
      <a:spcBef>
        <a:spcPts val="400"/>
      </a:spcBef>
      <a:buClr>
        <a:schemeClr val="tx2"/>
      </a:buClr>
      <a:buFont typeface="Verdana" pitchFamily="34" charset="0"/>
      <a:buChar char="―"/>
      <a:defRPr lang="en-GB" sz="1200" kern="1200" noProof="0" dirty="0">
        <a:solidFill>
          <a:schemeClr val="tx1"/>
        </a:solidFill>
        <a:latin typeface="+mn-lt"/>
        <a:ea typeface="+mn-ea"/>
        <a:cs typeface="+mn-cs"/>
      </a:defRPr>
    </a:lvl4pPr>
    <a:lvl5pPr marL="1080000" indent="-360000" algn="l" defTabSz="1004011" rtl="0" eaLnBrk="1" latinLnBrk="0" hangingPunct="1">
      <a:spcBef>
        <a:spcPts val="400"/>
      </a:spcBef>
      <a:buClr>
        <a:schemeClr val="tx2"/>
      </a:buClr>
      <a:buFont typeface="Verdana" pitchFamily="34" charset="0"/>
      <a:buChar char="―"/>
      <a:tabLst>
        <a:tab pos="9347200" algn="r"/>
      </a:tabLst>
      <a:defRPr lang="en-GB" sz="1200" kern="1200" noProof="0" dirty="0">
        <a:solidFill>
          <a:schemeClr val="tx1"/>
        </a:solidFill>
        <a:latin typeface="+mn-lt"/>
        <a:ea typeface="+mn-ea"/>
        <a:cs typeface="+mn-cs"/>
      </a:defRPr>
    </a:lvl5pPr>
    <a:lvl6pPr marL="1363663" indent="-285750" algn="l" defTabSz="1004011" rtl="0" eaLnBrk="1" latinLnBrk="0" hangingPunct="1">
      <a:buFont typeface="Verdana" pitchFamily="34" charset="0"/>
      <a:buChar char="―"/>
      <a:defRPr sz="1300" kern="1200">
        <a:solidFill>
          <a:schemeClr val="tx1"/>
        </a:solidFill>
        <a:latin typeface="+mn-lt"/>
        <a:ea typeface="+mn-ea"/>
        <a:cs typeface="+mn-cs"/>
      </a:defRPr>
    </a:lvl6pPr>
    <a:lvl7pPr marL="1368425" indent="-285750" algn="l" defTabSz="1004011" rtl="0" eaLnBrk="1" latinLnBrk="0" hangingPunct="1">
      <a:buClr>
        <a:schemeClr val="tx2"/>
      </a:buClr>
      <a:buFont typeface="Verdana" pitchFamily="34" charset="0"/>
      <a:buChar char="―"/>
      <a:defRPr sz="1300" kern="1200">
        <a:solidFill>
          <a:schemeClr val="tx1"/>
        </a:solidFill>
        <a:latin typeface="+mn-lt"/>
        <a:ea typeface="+mn-ea"/>
        <a:cs typeface="+mn-cs"/>
      </a:defRPr>
    </a:lvl7pPr>
    <a:lvl8pPr marL="1363663" indent="-285750" algn="l" defTabSz="1004011" rtl="0" eaLnBrk="1" latinLnBrk="0" hangingPunct="1">
      <a:buClr>
        <a:schemeClr val="accent1"/>
      </a:buClr>
      <a:buFont typeface="Verdana" pitchFamily="34" charset="0"/>
      <a:buChar char="―"/>
      <a:defRPr sz="1300" kern="1200">
        <a:solidFill>
          <a:schemeClr val="tx1"/>
        </a:solidFill>
        <a:latin typeface="+mn-lt"/>
        <a:ea typeface="+mn-ea"/>
        <a:cs typeface="+mn-cs"/>
      </a:defRPr>
    </a:lvl8pPr>
    <a:lvl9pPr marL="1370013" indent="-285750" algn="l" defTabSz="1004011" rtl="0" eaLnBrk="1" latinLnBrk="0" hangingPunct="1">
      <a:buClr>
        <a:schemeClr val="tx2"/>
      </a:buClr>
      <a:buFont typeface="Verdana" pitchFamily="34" charset="0"/>
      <a:buChar char="―"/>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xfrm>
            <a:off x="5994400" y="9005888"/>
            <a:ext cx="709613" cy="153987"/>
          </a:xfrm>
          <a:noFill/>
        </p:spPr>
        <p:txBody>
          <a:bodyPr/>
          <a:lstStyle>
            <a:lvl1pPr defTabSz="985838">
              <a:defRPr sz="1200">
                <a:solidFill>
                  <a:schemeClr val="tx1"/>
                </a:solidFill>
                <a:latin typeface="Verdana" panose="020B0604030504040204" pitchFamily="34" charset="0"/>
              </a:defRPr>
            </a:lvl1pPr>
            <a:lvl2pPr marL="741363" indent="-284163" defTabSz="985838">
              <a:defRPr sz="1200">
                <a:solidFill>
                  <a:schemeClr val="tx1"/>
                </a:solidFill>
                <a:latin typeface="Verdana" panose="020B0604030504040204" pitchFamily="34" charset="0"/>
              </a:defRPr>
            </a:lvl2pPr>
            <a:lvl3pPr marL="1141413" indent="-227013" defTabSz="985838">
              <a:defRPr sz="1200">
                <a:solidFill>
                  <a:schemeClr val="tx1"/>
                </a:solidFill>
                <a:latin typeface="Verdana" panose="020B0604030504040204" pitchFamily="34" charset="0"/>
              </a:defRPr>
            </a:lvl3pPr>
            <a:lvl4pPr marL="1598613" indent="-227013" defTabSz="985838">
              <a:defRPr sz="1200">
                <a:solidFill>
                  <a:schemeClr val="tx1"/>
                </a:solidFill>
                <a:latin typeface="Verdana" panose="020B0604030504040204" pitchFamily="34" charset="0"/>
              </a:defRPr>
            </a:lvl4pPr>
            <a:lvl5pPr marL="2055813" indent="-227013" defTabSz="985838">
              <a:defRPr sz="1200">
                <a:solidFill>
                  <a:schemeClr val="tx1"/>
                </a:solidFill>
                <a:latin typeface="Verdana" panose="020B0604030504040204" pitchFamily="34" charset="0"/>
              </a:defRPr>
            </a:lvl5pPr>
            <a:lvl6pPr marL="2513013" indent="-227013" defTabSz="985838" eaLnBrk="0" fontAlgn="base" hangingPunct="0">
              <a:spcBef>
                <a:spcPct val="0"/>
              </a:spcBef>
              <a:spcAft>
                <a:spcPct val="0"/>
              </a:spcAft>
              <a:defRPr sz="1200">
                <a:solidFill>
                  <a:schemeClr val="tx1"/>
                </a:solidFill>
                <a:latin typeface="Verdana" panose="020B0604030504040204" pitchFamily="34" charset="0"/>
              </a:defRPr>
            </a:lvl6pPr>
            <a:lvl7pPr marL="2970213" indent="-227013" defTabSz="985838" eaLnBrk="0" fontAlgn="base" hangingPunct="0">
              <a:spcBef>
                <a:spcPct val="0"/>
              </a:spcBef>
              <a:spcAft>
                <a:spcPct val="0"/>
              </a:spcAft>
              <a:defRPr sz="1200">
                <a:solidFill>
                  <a:schemeClr val="tx1"/>
                </a:solidFill>
                <a:latin typeface="Verdana" panose="020B0604030504040204" pitchFamily="34" charset="0"/>
              </a:defRPr>
            </a:lvl7pPr>
            <a:lvl8pPr marL="3427413" indent="-227013" defTabSz="985838" eaLnBrk="0" fontAlgn="base" hangingPunct="0">
              <a:spcBef>
                <a:spcPct val="0"/>
              </a:spcBef>
              <a:spcAft>
                <a:spcPct val="0"/>
              </a:spcAft>
              <a:defRPr sz="1200">
                <a:solidFill>
                  <a:schemeClr val="tx1"/>
                </a:solidFill>
                <a:latin typeface="Verdana" panose="020B0604030504040204" pitchFamily="34" charset="0"/>
              </a:defRPr>
            </a:lvl8pPr>
            <a:lvl9pPr marL="3884613" indent="-227013" defTabSz="985838" eaLnBrk="0" fontAlgn="base" hangingPunct="0">
              <a:spcBef>
                <a:spcPct val="0"/>
              </a:spcBef>
              <a:spcAft>
                <a:spcPct val="0"/>
              </a:spcAft>
              <a:defRPr sz="1200">
                <a:solidFill>
                  <a:schemeClr val="tx1"/>
                </a:solidFill>
                <a:latin typeface="Verdana" panose="020B0604030504040204" pitchFamily="34" charset="0"/>
              </a:defRPr>
            </a:lvl9pPr>
          </a:lstStyle>
          <a:p>
            <a:fld id="{32908AB0-AD57-4E5D-9EB9-2BE06AD55885}" type="slidenum">
              <a:rPr lang="en-GB" altLang="zh-TW" sz="1000" smtClean="0">
                <a:solidFill>
                  <a:prstClr val="black"/>
                </a:solidFill>
                <a:latin typeface="Arial" panose="020B0604020202020204" pitchFamily="34" charset="0"/>
                <a:ea typeface="新細明體" panose="02020500000000000000" pitchFamily="18" charset="-120"/>
              </a:rPr>
              <a:pPr/>
              <a:t>0</a:t>
            </a:fld>
            <a:endParaRPr lang="en-GB" altLang="zh-TW" sz="1000">
              <a:solidFill>
                <a:prstClr val="black"/>
              </a:solidFill>
              <a:latin typeface="Arial" panose="020B0604020202020204" pitchFamily="34" charset="0"/>
              <a:ea typeface="新細明體" panose="02020500000000000000" pitchFamily="18" charset="-120"/>
            </a:endParaRPr>
          </a:p>
        </p:txBody>
      </p:sp>
      <p:sp>
        <p:nvSpPr>
          <p:cNvPr id="17411" name="Rectangle 2"/>
          <p:cNvSpPr>
            <a:spLocks noGrp="1" noRot="1" noChangeAspect="1" noChangeArrowheads="1" noTextEdit="1"/>
          </p:cNvSpPr>
          <p:nvPr>
            <p:ph type="sldImg"/>
          </p:nvPr>
        </p:nvSpPr>
        <p:spPr>
          <a:xfrm>
            <a:off x="561975" y="277813"/>
            <a:ext cx="5886450" cy="4410075"/>
          </a:xfrm>
          <a:ln cap="flat" algn="ctr"/>
        </p:spPr>
      </p:sp>
      <p:sp>
        <p:nvSpPr>
          <p:cNvPr id="17412" name="Rectangle 3"/>
          <p:cNvSpPr>
            <a:spLocks noGrp="1" noChangeAspect="1" noChangeArrowheads="1"/>
          </p:cNvSpPr>
          <p:nvPr>
            <p:ph type="body" idx="1"/>
          </p:nvPr>
        </p:nvSpPr>
        <p:spPr>
          <a:noFill/>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830233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4475" y="293688"/>
            <a:ext cx="6246813" cy="46815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8F32C9A-A860-4D16-BD04-BD781DD962C2}" type="slidenum">
              <a:rPr lang="en-GB" smtClean="0"/>
              <a:pPr/>
              <a:t>1</a:t>
            </a:fld>
            <a:endParaRPr lang="en-GB" dirty="0"/>
          </a:p>
        </p:txBody>
      </p:sp>
    </p:spTree>
    <p:extLst>
      <p:ext uri="{BB962C8B-B14F-4D97-AF65-F5344CB8AC3E}">
        <p14:creationId xmlns:p14="http://schemas.microsoft.com/office/powerpoint/2010/main" val="999940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325438"/>
            <a:ext cx="6877050" cy="5151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F32C9A-A860-4D16-BD04-BD781DD962C2}" type="slidenum">
              <a:rPr lang="en-US" noProof="0" smtClean="0"/>
              <a:pPr/>
              <a:t>2</a:t>
            </a:fld>
            <a:endParaRPr lang="en-US" noProof="0" dirty="0"/>
          </a:p>
        </p:txBody>
      </p:sp>
    </p:spTree>
    <p:extLst>
      <p:ext uri="{BB962C8B-B14F-4D97-AF65-F5344CB8AC3E}">
        <p14:creationId xmlns:p14="http://schemas.microsoft.com/office/powerpoint/2010/main" val="3884105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4475" y="295275"/>
            <a:ext cx="6246813" cy="46799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8F32C9A-A860-4D16-BD04-BD781DD962C2}" type="slidenum">
              <a:rPr lang="en-GB" smtClean="0"/>
              <a:pPr/>
              <a:t>3</a:t>
            </a:fld>
            <a:endParaRPr lang="en-GB" dirty="0"/>
          </a:p>
        </p:txBody>
      </p:sp>
    </p:spTree>
    <p:extLst>
      <p:ext uri="{BB962C8B-B14F-4D97-AF65-F5344CB8AC3E}">
        <p14:creationId xmlns:p14="http://schemas.microsoft.com/office/powerpoint/2010/main" val="4278445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9" y="-5955"/>
            <a:ext cx="10050459" cy="7540230"/>
          </a:xfrm>
          <a:prstGeom prst="rect">
            <a:avLst/>
          </a:prstGeom>
        </p:spPr>
      </p:pic>
      <p:pic>
        <p:nvPicPr>
          <p:cNvPr id="9" name="Picture 53" descr="heidricklogo"/>
          <p:cNvPicPr>
            <a:picLocks noChangeAspect="1" noChangeArrowheads="1"/>
          </p:cNvPicPr>
          <p:nvPr userDrawn="1"/>
        </p:nvPicPr>
        <p:blipFill>
          <a:blip r:embed="rId3">
            <a:biLevel thresh="25000"/>
            <a:extLst>
              <a:ext uri="{28A0092B-C50C-407E-A947-70E740481C1C}">
                <a14:useLocalDpi xmlns:a14="http://schemas.microsoft.com/office/drawing/2010/main" val="0"/>
              </a:ext>
            </a:extLst>
          </a:blip>
          <a:srcRect l="-526" t="-8139" r="-877" b="-22092"/>
          <a:stretch>
            <a:fillRect/>
          </a:stretch>
        </p:blipFill>
        <p:spPr bwMode="gray">
          <a:xfrm>
            <a:off x="1507803" y="6951663"/>
            <a:ext cx="2751136" cy="17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829607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ne Pager - 2 Columns - B&amp;W">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876571214"/>
              </p:ext>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12"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sp>
        <p:nvSpPr>
          <p:cNvPr id="11"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74044484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Pager - 3 Columns - B&amp;W">
    <p:spTree>
      <p:nvGrpSpPr>
        <p:cNvPr id="1" name=""/>
        <p:cNvGrpSpPr/>
        <p:nvPr/>
      </p:nvGrpSpPr>
      <p:grpSpPr>
        <a:xfrm>
          <a:off x="0" y="0"/>
          <a:ext cx="0" cy="0"/>
          <a:chOff x="0" y="0"/>
          <a:chExt cx="0" cy="0"/>
        </a:xfrm>
      </p:grpSpPr>
      <p:graphicFrame>
        <p:nvGraphicFramePr>
          <p:cNvPr id="8" name="Table 7"/>
          <p:cNvGraphicFramePr>
            <a:graphicFrameLocks noGrp="1"/>
          </p:cNvGraphicFramePr>
          <p:nvPr userDrawn="1">
            <p:extLst>
              <p:ext uri="{D42A27DB-BD31-4B8C-83A1-F6EECF244321}">
                <p14:modId xmlns:p14="http://schemas.microsoft.com/office/powerpoint/2010/main" val="3945005600"/>
              </p:ext>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sp>
        <p:nvSpPr>
          <p:cNvPr id="10"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2"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29748604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e Pager - 2 Columns - Color">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789899415"/>
              </p:ext>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sp>
        <p:nvSpPr>
          <p:cNvPr id="11"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9176123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Pager - 3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graphicFrame>
        <p:nvGraphicFramePr>
          <p:cNvPr id="9" name="Table 8"/>
          <p:cNvGraphicFramePr>
            <a:graphicFrameLocks noGrp="1"/>
          </p:cNvGraphicFramePr>
          <p:nvPr userDrawn="1">
            <p:extLst>
              <p:ext uri="{D42A27DB-BD31-4B8C-83A1-F6EECF244321}">
                <p14:modId xmlns:p14="http://schemas.microsoft.com/office/powerpoint/2010/main" val="1287320503"/>
              </p:ext>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33402385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ntact">
    <p:spTree>
      <p:nvGrpSpPr>
        <p:cNvPr id="1" name=""/>
        <p:cNvGrpSpPr/>
        <p:nvPr/>
      </p:nvGrpSpPr>
      <p:grpSpPr>
        <a:xfrm>
          <a:off x="0" y="0"/>
          <a:ext cx="0" cy="0"/>
          <a:chOff x="0" y="0"/>
          <a:chExt cx="0" cy="0"/>
        </a:xfrm>
      </p:grpSpPr>
      <p:cxnSp>
        <p:nvCxnSpPr>
          <p:cNvPr id="9" name="Straight Connector 8"/>
          <p:cNvCxnSpPr/>
          <p:nvPr/>
        </p:nvCxnSpPr>
        <p:spPr bwMode="gray">
          <a:xfrm>
            <a:off x="1062000" y="1458000"/>
            <a:ext cx="79200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1062000" y="6062400"/>
            <a:ext cx="79200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pic>
        <p:nvPicPr>
          <p:cNvPr id="11" name="Picture 53" descr="heidricklogo"/>
          <p:cNvPicPr>
            <a:picLocks noChangeAspect="1" noChangeArrowheads="1"/>
          </p:cNvPicPr>
          <p:nvPr/>
        </p:nvPicPr>
        <p:blipFill>
          <a:blip r:embed="rId2">
            <a:extLst>
              <a:ext uri="{28A0092B-C50C-407E-A947-70E740481C1C}">
                <a14:useLocalDpi xmlns:a14="http://schemas.microsoft.com/office/drawing/2010/main" val="0"/>
              </a:ext>
            </a:extLst>
          </a:blip>
          <a:srcRect l="-526" t="-8139" r="-877" b="-22092"/>
          <a:stretch>
            <a:fillRect/>
          </a:stretch>
        </p:blipFill>
        <p:spPr bwMode="gray">
          <a:xfrm>
            <a:off x="1046164" y="6951663"/>
            <a:ext cx="2751136" cy="1778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6"/>
          <p:cNvSpPr>
            <a:spLocks noGrp="1"/>
          </p:cNvSpPr>
          <p:nvPr>
            <p:ph type="body" sz="quarter" idx="13" hasCustomPrompt="1"/>
          </p:nvPr>
        </p:nvSpPr>
        <p:spPr bwMode="gray">
          <a:xfrm>
            <a:off x="1056896" y="1854163"/>
            <a:ext cx="4037393" cy="3816424"/>
          </a:xfrm>
        </p:spPr>
        <p:txBody>
          <a:bodyPr anchor="ctr" anchorCtr="0">
            <a:normAutofit/>
          </a:bodyPr>
          <a:lstStyle>
            <a:lvl1pPr>
              <a:lnSpc>
                <a:spcPct val="100000"/>
              </a:lnSpc>
              <a:spcBef>
                <a:spcPts val="600"/>
              </a:spcBef>
              <a:defRPr sz="1100" b="0">
                <a:solidFill>
                  <a:schemeClr val="tx1"/>
                </a:solidFill>
              </a:defRPr>
            </a:lvl1pPr>
            <a:lvl2pPr>
              <a:lnSpc>
                <a:spcPct val="105000"/>
              </a:lnSpc>
              <a:spcBef>
                <a:spcPts val="1800"/>
              </a:spcBef>
              <a:spcAft>
                <a:spcPts val="0"/>
              </a:spcAft>
              <a:defRPr lang="en-US" sz="1100" b="1" kern="1200" baseline="0" dirty="0" smtClean="0">
                <a:solidFill>
                  <a:schemeClr val="tx1"/>
                </a:solidFill>
                <a:latin typeface="+mn-lt"/>
                <a:ea typeface="+mn-ea"/>
                <a:cs typeface="+mn-cs"/>
              </a:defRPr>
            </a:lvl2pPr>
            <a:lvl3pPr>
              <a:defRPr sz="1100"/>
            </a:lvl3pPr>
            <a:lvl4pPr>
              <a:defRPr sz="1100"/>
            </a:lvl4pPr>
            <a:lvl5pPr>
              <a:defRPr sz="1100"/>
            </a:lvl5pPr>
          </a:lstStyle>
          <a:p>
            <a:pPr marL="0" lvl="0" indent="0" algn="l" defTabSz="1003960" rtl="0" eaLnBrk="1" latinLnBrk="0" hangingPunct="1">
              <a:lnSpc>
                <a:spcPct val="105000"/>
              </a:lnSpc>
              <a:spcBef>
                <a:spcPts val="720"/>
              </a:spcBef>
              <a:buFont typeface="Arial" pitchFamily="34" charset="0"/>
              <a:buNone/>
            </a:pPr>
            <a:r>
              <a:rPr lang="en-US" noProof="0" smtClean="0"/>
              <a:t>Contact Address (use level 2 for telephone number)</a:t>
            </a:r>
            <a:endParaRPr lang="en-US" noProof="0"/>
          </a:p>
        </p:txBody>
      </p:sp>
      <p:sp>
        <p:nvSpPr>
          <p:cNvPr id="2" name="TextBox 1"/>
          <p:cNvSpPr txBox="1"/>
          <p:nvPr/>
        </p:nvSpPr>
        <p:spPr>
          <a:xfrm>
            <a:off x="1046164" y="6210647"/>
            <a:ext cx="7935836" cy="123111"/>
          </a:xfrm>
          <a:prstGeom prst="rect">
            <a:avLst/>
          </a:prstGeom>
          <a:noFill/>
        </p:spPr>
        <p:txBody>
          <a:bodyPr wrap="square" lIns="0" tIns="0" rIns="0" bIns="0" rtlCol="0">
            <a:spAutoFit/>
          </a:bodyPr>
          <a:lstStyle/>
          <a:p>
            <a:pPr marL="0" marR="0" lvl="0" indent="0" algn="l" defTabSz="1004011" rtl="0" eaLnBrk="1" fontAlgn="auto" latinLnBrk="0" hangingPunct="1">
              <a:lnSpc>
                <a:spcPct val="100000"/>
              </a:lnSpc>
              <a:spcBef>
                <a:spcPts val="0"/>
              </a:spcBef>
              <a:spcAft>
                <a:spcPts val="0"/>
              </a:spcAft>
              <a:buClrTx/>
              <a:buSzTx/>
              <a:buFontTx/>
              <a:buNone/>
              <a:tabLst/>
              <a:defRPr/>
            </a:pPr>
            <a:r>
              <a:rPr lang="en-US" sz="800" b="0" i="1" baseline="0" noProof="0" dirty="0" smtClean="0"/>
              <a:t>Copyright © 2017 Heidrick &amp; Struggles. All rights reserved. Reproduction without permission is prohibited</a:t>
            </a:r>
          </a:p>
        </p:txBody>
      </p:sp>
    </p:spTree>
    <p:extLst>
      <p:ext uri="{BB962C8B-B14F-4D97-AF65-F5344CB8AC3E}">
        <p14:creationId xmlns:p14="http://schemas.microsoft.com/office/powerpoint/2010/main" val="184908458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ne Pager - 2 Columns - B&amp;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8" name="Table 7"/>
          <p:cNvGraphicFramePr>
            <a:graphicFrameLocks noGrp="1"/>
          </p:cNvGraphicFramePr>
          <p:nvPr userDrawn="1">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9"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6820976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One Pager - 3 Columns - B&amp;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8" name="Table 7"/>
          <p:cNvGraphicFramePr>
            <a:graphicFrameLocks noGrp="1"/>
          </p:cNvGraphicFramePr>
          <p:nvPr userDrawn="1">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10"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2"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69446985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One Pager - 2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11" name="Table 10"/>
          <p:cNvGraphicFramePr>
            <a:graphicFrameLocks noGrp="1"/>
          </p:cNvGraphicFramePr>
          <p:nvPr userDrawn="1">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07119023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One Pager - 3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9" name="Table 8"/>
          <p:cNvGraphicFramePr>
            <a:graphicFrameLocks noGrp="1"/>
          </p:cNvGraphicFramePr>
          <p:nvPr userDrawn="1">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95863426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One Pager - 2 Columns - B&amp;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8" name="Table 7"/>
          <p:cNvGraphicFramePr>
            <a:graphicFrameLocks noGrp="1"/>
          </p:cNvGraphicFramePr>
          <p:nvPr userDrawn="1">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9"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3933879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3" name="Content Placeholder 2"/>
          <p:cNvSpPr>
            <a:spLocks noGrp="1"/>
          </p:cNvSpPr>
          <p:nvPr>
            <p:ph idx="1"/>
            <p:custDataLst>
              <p:tags r:id="rId1"/>
            </p:custDataLst>
          </p:nvPr>
        </p:nvSpPr>
        <p:spPr>
          <a:xfrm>
            <a:off x="342901" y="1169989"/>
            <a:ext cx="9359900" cy="5761037"/>
          </a:xfrm>
        </p:spPr>
        <p:txBody>
          <a:bodyPr vert="horz"/>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55505963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One Pager - 3 Columns - B&amp;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8" name="Table 7"/>
          <p:cNvGraphicFramePr>
            <a:graphicFrameLocks noGrp="1"/>
          </p:cNvGraphicFramePr>
          <p:nvPr userDrawn="1">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10"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2"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04131358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One Pager - 2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11" name="Table 10"/>
          <p:cNvGraphicFramePr>
            <a:graphicFrameLocks noGrp="1"/>
          </p:cNvGraphicFramePr>
          <p:nvPr userDrawn="1">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12987395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One Pager - 3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9" name="Table 8"/>
          <p:cNvGraphicFramePr>
            <a:graphicFrameLocks noGrp="1"/>
          </p:cNvGraphicFramePr>
          <p:nvPr userDrawn="1">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38060691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One Pager - 2 Columns - B&amp;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8" name="Table 7"/>
          <p:cNvGraphicFramePr>
            <a:graphicFrameLocks noGrp="1"/>
          </p:cNvGraphicFramePr>
          <p:nvPr userDrawn="1">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9"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19079590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Pager - 3 Columns - B&amp;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8" name="Table 7"/>
          <p:cNvGraphicFramePr>
            <a:graphicFrameLocks noGrp="1"/>
          </p:cNvGraphicFramePr>
          <p:nvPr userDrawn="1">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r>
              <a:tr h="5525580">
                <a:tc>
                  <a:txBody>
                    <a:bodyPr/>
                    <a:lstStyle/>
                    <a:p>
                      <a:endParaRPr lang="en-GB" sz="1000" dirty="0"/>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p:sp>
        <p:nvSpPr>
          <p:cNvPr id="10"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2"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30719771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Pager - 2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11" name="Table 10"/>
          <p:cNvGraphicFramePr>
            <a:graphicFrameLocks noGrp="1"/>
          </p:cNvGraphicFramePr>
          <p:nvPr userDrawn="1">
            <p:extLst/>
          </p:nvPr>
        </p:nvGraphicFramePr>
        <p:xfrm>
          <a:off x="342898" y="1169989"/>
          <a:ext cx="9359900" cy="5769420"/>
        </p:xfrm>
        <a:graphic>
          <a:graphicData uri="http://schemas.openxmlformats.org/drawingml/2006/table">
            <a:tbl>
              <a:tblPr firstRow="1" bandRow="1">
                <a:tableStyleId>{69012ECD-51FC-41F1-AA8D-1B2483CD663E}</a:tableStyleId>
              </a:tblPr>
              <a:tblGrid>
                <a:gridCol w="1727624"/>
                <a:gridCol w="216024"/>
                <a:gridCol w="7416252"/>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7416252"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1020134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One Pager - 3 Columns -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dirty="0" smtClean="0">
                <a:solidFill>
                  <a:prstClr val="black"/>
                </a:solidFill>
              </a:rPr>
              <a:t>* To be verified</a:t>
            </a:r>
          </a:p>
        </p:txBody>
      </p:sp>
      <p:graphicFrame>
        <p:nvGraphicFramePr>
          <p:cNvPr id="9" name="Table 8"/>
          <p:cNvGraphicFramePr>
            <a:graphicFrameLocks noGrp="1"/>
          </p:cNvGraphicFramePr>
          <p:nvPr userDrawn="1">
            <p:extLst/>
          </p:nvPr>
        </p:nvGraphicFramePr>
        <p:xfrm>
          <a:off x="342898" y="1169989"/>
          <a:ext cx="9359902" cy="5769420"/>
        </p:xfrm>
        <a:graphic>
          <a:graphicData uri="http://schemas.openxmlformats.org/drawingml/2006/table">
            <a:tbl>
              <a:tblPr firstRow="1" bandRow="1">
                <a:tableStyleId>{69012ECD-51FC-41F1-AA8D-1B2483CD663E}</a:tableStyleId>
              </a:tblPr>
              <a:tblGrid>
                <a:gridCol w="1727624"/>
                <a:gridCol w="216024"/>
                <a:gridCol w="4362633"/>
                <a:gridCol w="221864"/>
                <a:gridCol w="2831757"/>
              </a:tblGrid>
              <a:tr h="235456">
                <a:tc>
                  <a:txBody>
                    <a:bodyPr/>
                    <a:lstStyle/>
                    <a:p>
                      <a:r>
                        <a:rPr lang="en-GB" sz="1000" dirty="0" smtClean="0"/>
                        <a:t>Executive Details</a:t>
                      </a:r>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areer</a:t>
                      </a:r>
                      <a:r>
                        <a:rPr lang="en-GB" sz="1000" baseline="0" dirty="0" smtClean="0"/>
                        <a:t> Summary</a:t>
                      </a:r>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GB" sz="1000" dirty="0" smtClean="0"/>
                        <a:t>Comments</a:t>
                      </a:r>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5525580">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GB" sz="1000"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3" name="Text Placeholder 10"/>
          <p:cNvSpPr>
            <a:spLocks noGrp="1"/>
          </p:cNvSpPr>
          <p:nvPr>
            <p:ph type="body" sz="quarter" idx="14"/>
          </p:nvPr>
        </p:nvSpPr>
        <p:spPr>
          <a:xfrm>
            <a:off x="2286546" y="1420585"/>
            <a:ext cx="4356000" cy="5508000"/>
          </a:xfrm>
        </p:spPr>
        <p:txBody>
          <a:bodyPr lIns="90000" tIns="46800" rIns="90000" bIns="46800"/>
          <a:lstStyle>
            <a:lvl1pPr marL="1440000" indent="-1440000">
              <a:spcBef>
                <a:spcPts val="1200"/>
              </a:spcBef>
              <a:tabLst>
                <a:tab pos="1436688" algn="l"/>
                <a:tab pos="9347200" algn="r"/>
              </a:tabLst>
              <a:defRPr sz="1000">
                <a:solidFill>
                  <a:schemeClr val="tx1"/>
                </a:solidFill>
              </a:defRPr>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Clr>
                <a:schemeClr val="tx1"/>
              </a:buClr>
              <a:buFont typeface="Garamond" pitchFamily="18" charset="0"/>
              <a:buChar char="►"/>
              <a:defRPr sz="1000"/>
            </a:lvl4pPr>
            <a:lvl5pPr marL="2160000">
              <a:spcBef>
                <a:spcPts val="300"/>
              </a:spcBef>
              <a:buClr>
                <a:schemeClr val="tx1"/>
              </a:buClr>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15"/>
          </p:nvPr>
        </p:nvSpPr>
        <p:spPr>
          <a:xfrm>
            <a:off x="6883411" y="1420585"/>
            <a:ext cx="2807742" cy="5508000"/>
          </a:xfrm>
        </p:spPr>
        <p:txBody>
          <a:bodyPr lIns="90000" tIns="46800" rIns="90000" bIns="46800"/>
          <a:lstStyle>
            <a:lvl1pPr>
              <a:spcBef>
                <a:spcPts val="1200"/>
              </a:spcBef>
              <a:defRPr sz="1000">
                <a:solidFill>
                  <a:schemeClr val="tx1"/>
                </a:solidFill>
              </a:defRPr>
            </a:lvl1pPr>
            <a:lvl2pPr>
              <a:spcBef>
                <a:spcPts val="300"/>
              </a:spcBef>
              <a:defRPr sz="1000"/>
            </a:lvl2pPr>
            <a:lvl3pPr marL="0" indent="0">
              <a:spcBef>
                <a:spcPts val="300"/>
              </a:spcBef>
              <a:buFontTx/>
              <a:buNone/>
              <a:defRPr sz="1000" i="1"/>
            </a:lvl3pPr>
            <a:lvl4pPr marL="360000" indent="-360000">
              <a:spcBef>
                <a:spcPts val="300"/>
              </a:spcBef>
              <a:buClr>
                <a:schemeClr val="tx1"/>
              </a:buClr>
              <a:buFont typeface="Garamond" pitchFamily="18" charset="0"/>
              <a:buChar char="►"/>
              <a:defRPr sz="1000"/>
            </a:lvl4pPr>
            <a:lvl5pPr marL="432000" indent="-216000">
              <a:spcBef>
                <a:spcPts val="300"/>
              </a:spcBef>
              <a:buClr>
                <a:schemeClr val="tx1"/>
              </a:buClr>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411317874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5"/>
          <p:cNvSpPr>
            <a:spLocks noGrp="1" noChangeArrowheads="1"/>
          </p:cNvSpPr>
          <p:nvPr>
            <p:ph type="sldNum" sz="quarter" idx="10"/>
            <p:custDataLst>
              <p:tags r:id="rId1"/>
            </p:custDataLst>
          </p:nvPr>
        </p:nvSpPr>
        <p:spPr>
          <a:xfrm>
            <a:off x="9013371" y="7244451"/>
            <a:ext cx="689429" cy="123111"/>
          </a:xfrm>
          <a:prstGeom prst="rect">
            <a:avLst/>
          </a:prstGeom>
        </p:spPr>
        <p:txBody>
          <a:bodyPr/>
          <a:lstStyle>
            <a:lvl1pPr>
              <a:defRPr/>
            </a:lvl1pPr>
          </a:lstStyle>
          <a:p>
            <a:pPr>
              <a:defRPr/>
            </a:pPr>
            <a:fld id="{75A77AD7-0CB0-41C0-BD5E-451ECA9ACB07}" type="slidenum">
              <a:rPr lang="zh-TW" altLang="en-US"/>
              <a:pPr>
                <a:defRPr/>
              </a:pPr>
              <a:t>‹Nº›</a:t>
            </a:fld>
            <a:endParaRPr lang="en-US" altLang="zh-TW" dirty="0"/>
          </a:p>
        </p:txBody>
      </p:sp>
      <p:sp>
        <p:nvSpPr>
          <p:cNvPr id="3" name="Rectangle 32"/>
          <p:cNvSpPr>
            <a:spLocks noGrp="1" noChangeArrowheads="1"/>
          </p:cNvSpPr>
          <p:nvPr>
            <p:ph type="ftr" sz="quarter" idx="11"/>
          </p:nvPr>
        </p:nvSpPr>
        <p:spPr>
          <a:xfrm>
            <a:off x="4389438" y="7124700"/>
            <a:ext cx="3206750" cy="244475"/>
          </a:xfrm>
          <a:prstGeom prst="rect">
            <a:avLst/>
          </a:prstGeom>
        </p:spPr>
        <p:txBody>
          <a:bodyPr/>
          <a:lstStyle>
            <a:lvl1pPr>
              <a:defRPr/>
            </a:lvl1pPr>
          </a:lstStyle>
          <a:p>
            <a:pPr algn="ctr" defTabSz="914400" eaLnBrk="0" fontAlgn="base" hangingPunct="0">
              <a:spcBef>
                <a:spcPct val="50000"/>
              </a:spcBef>
              <a:spcAft>
                <a:spcPct val="0"/>
              </a:spcAft>
              <a:defRPr/>
            </a:pPr>
            <a:endParaRPr lang="en-US" sz="1200" dirty="0">
              <a:solidFill>
                <a:srgbClr val="000000"/>
              </a:solidFill>
            </a:endParaRPr>
          </a:p>
        </p:txBody>
      </p:sp>
    </p:spTree>
    <p:extLst>
      <p:ext uri="{BB962C8B-B14F-4D97-AF65-F5344CB8AC3E}">
        <p14:creationId xmlns:p14="http://schemas.microsoft.com/office/powerpoint/2010/main" val="2902284859"/>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Header 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145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9" name="Picture 53" descr="heidricklogo"/>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l="-526" t="-8139" r="-877" b="-22092"/>
          <a:stretch>
            <a:fillRect/>
          </a:stretch>
        </p:blipFill>
        <p:spPr bwMode="gray">
          <a:xfrm>
            <a:off x="1507803" y="6951663"/>
            <a:ext cx="2751136" cy="1778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049513" cy="7524750"/>
          </a:xfrm>
          <a:prstGeom prst="rect">
            <a:avLst/>
          </a:prstGeom>
        </p:spPr>
      </p:pic>
    </p:spTree>
    <p:extLst>
      <p:ext uri="{BB962C8B-B14F-4D97-AF65-F5344CB8AC3E}">
        <p14:creationId xmlns:p14="http://schemas.microsoft.com/office/powerpoint/2010/main" val="345690772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2038" y="3402013"/>
            <a:ext cx="7920000" cy="369332"/>
          </a:xfrm>
        </p:spPr>
        <p:txBody>
          <a:bodyPr anchor="b" anchorCtr="0">
            <a:spAutoFit/>
          </a:bodyPr>
          <a:lstStyle>
            <a:lvl1pPr algn="l">
              <a:defRPr lang="en-GB" sz="2400"/>
            </a:lvl1pPr>
          </a:lstStyle>
          <a:p>
            <a:r>
              <a:rPr lang="en-US" noProof="0" smtClean="0"/>
              <a:t>Click to add section header</a:t>
            </a:r>
            <a:endParaRPr lang="en-US" noProof="0"/>
          </a:p>
        </p:txBody>
      </p:sp>
      <p:sp>
        <p:nvSpPr>
          <p:cNvPr id="3" name="Text Placeholder 2"/>
          <p:cNvSpPr>
            <a:spLocks noGrp="1"/>
          </p:cNvSpPr>
          <p:nvPr>
            <p:ph type="body" idx="1" hasCustomPrompt="1"/>
          </p:nvPr>
        </p:nvSpPr>
        <p:spPr>
          <a:xfrm>
            <a:off x="1065525" y="4038058"/>
            <a:ext cx="7920000" cy="230480"/>
          </a:xfrm>
        </p:spPr>
        <p:txBody>
          <a:bodyPr vert="horz" lIns="0" tIns="0" rIns="0" bIns="0" rtlCol="0" anchor="t" anchorCtr="0">
            <a:spAutoFit/>
          </a:bodyPr>
          <a:lstStyle>
            <a:lvl1pPr>
              <a:defRPr lang="en-US" sz="1400" dirty="0" smtClean="0"/>
            </a:lvl1pPr>
            <a:lvl2pPr>
              <a:defRPr sz="1400">
                <a:solidFill>
                  <a:schemeClr val="tx2"/>
                </a:solidFill>
              </a:defRPr>
            </a:lvl2pPr>
          </a:lstStyle>
          <a:p>
            <a:pPr lvl="0">
              <a:spcBef>
                <a:spcPts val="720"/>
              </a:spcBef>
            </a:pPr>
            <a:r>
              <a:rPr lang="en-US" noProof="0" smtClean="0"/>
              <a:t>Click to add section subheader</a:t>
            </a:r>
          </a:p>
        </p:txBody>
      </p:sp>
      <p:cxnSp>
        <p:nvCxnSpPr>
          <p:cNvPr id="7" name="Straight Connector 6"/>
          <p:cNvCxnSpPr/>
          <p:nvPr/>
        </p:nvCxnSpPr>
        <p:spPr bwMode="gray">
          <a:xfrm>
            <a:off x="1062000" y="1458000"/>
            <a:ext cx="79200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bwMode="gray">
          <a:xfrm>
            <a:off x="1062000" y="6062400"/>
            <a:ext cx="79200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pic>
        <p:nvPicPr>
          <p:cNvPr id="9" name="Picture 53" descr="heidricklogo"/>
          <p:cNvPicPr>
            <a:picLocks noChangeAspect="1" noChangeArrowheads="1"/>
          </p:cNvPicPr>
          <p:nvPr userDrawn="1"/>
        </p:nvPicPr>
        <p:blipFill>
          <a:blip r:embed="rId2">
            <a:extLst>
              <a:ext uri="{28A0092B-C50C-407E-A947-70E740481C1C}">
                <a14:useLocalDpi xmlns:a14="http://schemas.microsoft.com/office/drawing/2010/main" val="0"/>
              </a:ext>
            </a:extLst>
          </a:blip>
          <a:srcRect l="-526" t="-8139" r="-877" b="-22092"/>
          <a:stretch>
            <a:fillRect/>
          </a:stretch>
        </p:blipFill>
        <p:spPr bwMode="gray">
          <a:xfrm>
            <a:off x="1046164" y="6951663"/>
            <a:ext cx="2751136" cy="17780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p:nvPr userDrawn="1"/>
        </p:nvCxnSpPr>
        <p:spPr bwMode="gray">
          <a:xfrm>
            <a:off x="1062000" y="6062400"/>
            <a:ext cx="79200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695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3" name="Content Placeholder 2"/>
          <p:cNvSpPr>
            <a:spLocks noGrp="1"/>
          </p:cNvSpPr>
          <p:nvPr>
            <p:ph sz="half" idx="1"/>
            <p:custDataLst>
              <p:tags r:id="rId1"/>
            </p:custDataLst>
          </p:nvPr>
        </p:nvSpPr>
        <p:spPr>
          <a:xfrm>
            <a:off x="342901" y="1169989"/>
            <a:ext cx="4608000" cy="5761037"/>
          </a:xfrm>
        </p:spPr>
        <p:txBody>
          <a:bodyPr vert="horz"/>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GB" dirty="0" smtClean="0"/>
            </a:lvl6pPr>
            <a:lvl7pPr>
              <a:defRPr lang="en-GB" dirty="0" smtClean="0"/>
            </a:lvl7pPr>
            <a:lvl8pPr>
              <a:defRPr lang="en-GB" dirty="0" smtClean="0"/>
            </a:lvl8pPr>
            <a:lvl9pPr>
              <a:defRPr lang="en-GB" dirty="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 name="Content Placeholder 3"/>
          <p:cNvSpPr>
            <a:spLocks noGrp="1"/>
          </p:cNvSpPr>
          <p:nvPr>
            <p:ph sz="half" idx="2"/>
          </p:nvPr>
        </p:nvSpPr>
        <p:spPr>
          <a:xfrm>
            <a:off x="5094289" y="1169988"/>
            <a:ext cx="4608000" cy="5761037"/>
          </a:xfrm>
        </p:spPr>
        <p:txBody>
          <a:bodyPr/>
          <a:lstStyle>
            <a:lvl1pPr>
              <a:defRPr lang="en-US" dirty="0" smtClean="0"/>
            </a:lvl1pPr>
            <a:lvl2pPr>
              <a:defRPr lang="en-US" dirty="0" smtClean="0"/>
            </a:lvl2pPr>
            <a:lvl3pPr>
              <a:defRPr lang="en-US" dirty="0" smtClean="0"/>
            </a:lvl3pPr>
            <a:lvl4pPr>
              <a:defRPr lang="en-US" dirty="0" smtClean="0"/>
            </a:lvl4pPr>
            <a:lvl5pPr>
              <a:defRPr lang="en-GB" dirty="0"/>
            </a:lvl5pPr>
            <a:lvl6pPr>
              <a:defRPr lang="en-US" dirty="0" smtClean="0"/>
            </a:lvl6pPr>
            <a:lvl7pPr>
              <a:defRPr lang="en-US" dirty="0" smtClean="0"/>
            </a:lvl7pPr>
            <a:lvl8pPr>
              <a:defRPr lang="en-US" dirty="0" smtClean="0"/>
            </a:lvl8pPr>
            <a:lvl9pPr>
              <a:defRPr lang="en-GB" dirty="0" smtClean="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40252487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Tree>
    <p:extLst>
      <p:ext uri="{BB962C8B-B14F-4D97-AF65-F5344CB8AC3E}">
        <p14:creationId xmlns:p14="http://schemas.microsoft.com/office/powerpoint/2010/main" val="877670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grap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 Placeholder 6"/>
          <p:cNvSpPr>
            <a:spLocks noGrp="1"/>
          </p:cNvSpPr>
          <p:nvPr>
            <p:ph type="body" sz="quarter" idx="13"/>
          </p:nvPr>
        </p:nvSpPr>
        <p:spPr>
          <a:xfrm>
            <a:off x="2430800" y="1169988"/>
            <a:ext cx="7272000" cy="5761037"/>
          </a:xfrm>
        </p:spPr>
        <p:txBody>
          <a:bodyPr/>
          <a:lstStyle>
            <a:lvl1pPr>
              <a:spcBef>
                <a:spcPts val="600"/>
              </a:spcBef>
              <a:defRPr b="0">
                <a:solidFill>
                  <a:schemeClr val="tx1"/>
                </a:solidFill>
              </a:defRPr>
            </a:lvl1pPr>
            <a:lvl2pPr marL="358775" indent="-358775">
              <a:spcBef>
                <a:spcPts val="600"/>
              </a:spcBef>
              <a:buClr>
                <a:schemeClr val="accent1"/>
              </a:buClr>
              <a:buFont typeface="Garamond" pitchFamily="18" charset="0"/>
              <a:buChar char="►"/>
              <a:defRPr/>
            </a:lvl2pPr>
            <a:lvl3pPr marL="719138" indent="-360363">
              <a:spcBef>
                <a:spcPts val="600"/>
              </a:spcBef>
              <a:buClr>
                <a:schemeClr val="tx1"/>
              </a:buClr>
              <a:buFont typeface="Verdana" pitchFamily="34" charset="0"/>
              <a:buChar char="―"/>
              <a:defRPr/>
            </a:lvl3pPr>
            <a:lvl4pPr marL="1077913" indent="-358775">
              <a:spcBef>
                <a:spcPts val="600"/>
              </a:spcBef>
              <a:buFont typeface="Verdana" pitchFamily="34" charset="0"/>
              <a:buChar char="―"/>
              <a:defRPr/>
            </a:lvl4pPr>
            <a:lvl5pPr marL="0" indent="0">
              <a:spcBef>
                <a:spcPts val="1800"/>
              </a:spcBef>
              <a:buFontTx/>
              <a:buNone/>
              <a:defRPr b="1">
                <a:solidFill>
                  <a:schemeClr val="accent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Picture Placeholder 8"/>
          <p:cNvSpPr>
            <a:spLocks noGrp="1"/>
          </p:cNvSpPr>
          <p:nvPr>
            <p:ph type="pic" sz="quarter" idx="14"/>
          </p:nvPr>
        </p:nvSpPr>
        <p:spPr>
          <a:xfrm>
            <a:off x="342900" y="1169988"/>
            <a:ext cx="1404000" cy="1728000"/>
          </a:xfrm>
          <a:prstGeom prst="roundRect">
            <a:avLst>
              <a:gd name="adj" fmla="val 13952"/>
            </a:avLst>
          </a:prstGeom>
        </p:spPr>
        <p:txBody>
          <a:bodyPr/>
          <a:lstStyle/>
          <a:p>
            <a:r>
              <a:rPr lang="en-US" noProof="0" dirty="0" smtClean="0"/>
              <a:t>Click icon to add picture</a:t>
            </a:r>
            <a:endParaRPr lang="en-US" noProof="0" dirty="0"/>
          </a:p>
        </p:txBody>
      </p:sp>
      <p:sp>
        <p:nvSpPr>
          <p:cNvPr id="11" name="Text Placeholder 10"/>
          <p:cNvSpPr>
            <a:spLocks noGrp="1"/>
          </p:cNvSpPr>
          <p:nvPr>
            <p:ph type="body" sz="quarter" idx="15"/>
          </p:nvPr>
        </p:nvSpPr>
        <p:spPr>
          <a:xfrm>
            <a:off x="342900" y="3186311"/>
            <a:ext cx="1980000" cy="1944688"/>
          </a:xfrm>
        </p:spPr>
        <p:txBody>
          <a:bodyPr/>
          <a:lstStyle>
            <a:lvl1pPr>
              <a:spcBef>
                <a:spcPts val="0"/>
              </a:spcBef>
              <a:defRPr sz="900" b="0">
                <a:solidFill>
                  <a:schemeClr val="tx1"/>
                </a:solidFill>
              </a:defRPr>
            </a:lvl1pPr>
            <a:lvl2pPr>
              <a:spcBef>
                <a:spcPts val="900"/>
              </a:spcBef>
              <a:defRPr sz="900" b="1"/>
            </a:lvl2pPr>
            <a:lvl3pPr>
              <a:spcBef>
                <a:spcPts val="0"/>
              </a:spcBef>
              <a:defRPr sz="900"/>
            </a:lvl3pPr>
            <a:lvl4pPr>
              <a:spcBef>
                <a:spcPts val="0"/>
              </a:spcBef>
              <a:defRPr sz="900"/>
            </a:lvl4pPr>
            <a:lvl5pPr>
              <a:spcBef>
                <a:spcPts val="0"/>
              </a:spcBef>
              <a:defRPr sz="9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89616012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ne Pager - 2 Columns">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342898" y="1169989"/>
          <a:ext cx="9359901" cy="5769420"/>
        </p:xfrm>
        <a:graphic>
          <a:graphicData uri="http://schemas.openxmlformats.org/drawingml/2006/table">
            <a:tbl>
              <a:tblPr firstRow="1" bandRow="1">
                <a:tableStyleId>{69012ECD-51FC-41F1-AA8D-1B2483CD663E}</a:tableStyleId>
              </a:tblPr>
              <a:tblGrid>
                <a:gridCol w="1738995"/>
                <a:gridCol w="7620906"/>
              </a:tblGrid>
              <a:tr h="235456">
                <a:tc>
                  <a:txBody>
                    <a:bodyPr/>
                    <a:lstStyle/>
                    <a:p>
                      <a:r>
                        <a:rPr lang="en-GB" sz="1000" dirty="0" smtClean="0"/>
                        <a:t>Candidate</a:t>
                      </a:r>
                      <a:endParaRPr lang="en-GB" sz="1000" dirty="0"/>
                    </a:p>
                  </a:txBody>
                  <a:tcPr/>
                </a:tc>
                <a:tc>
                  <a:txBody>
                    <a:bodyPr/>
                    <a:lstStyle/>
                    <a:p>
                      <a:r>
                        <a:rPr lang="en-GB" sz="1000" dirty="0" smtClean="0"/>
                        <a:t>Career</a:t>
                      </a:r>
                      <a:r>
                        <a:rPr lang="en-GB" sz="1000" baseline="0" dirty="0" smtClean="0"/>
                        <a:t> Summary</a:t>
                      </a:r>
                      <a:endParaRPr lang="en-GB" sz="1000" dirty="0"/>
                    </a:p>
                  </a:txBody>
                  <a:tcPr/>
                </a:tc>
              </a:tr>
              <a:tr h="5525580">
                <a:tc>
                  <a:txBody>
                    <a:bodyPr/>
                    <a:lstStyle/>
                    <a:p>
                      <a:endParaRPr lang="en-GB" sz="1000" dirty="0"/>
                    </a:p>
                  </a:txBody>
                  <a:tcPr/>
                </a:tc>
                <a:tc>
                  <a:txBody>
                    <a:bodyPr/>
                    <a:lstStyle/>
                    <a:p>
                      <a:endParaRPr lang="en-GB" sz="1000" dirty="0"/>
                    </a:p>
                  </a:txBody>
                  <a:tcPr/>
                </a:tc>
              </a:tr>
            </a:tbl>
          </a:graphicData>
        </a:graphic>
      </p:graphicFrame>
      <p:sp>
        <p:nvSpPr>
          <p:cNvPr id="12" name="Text Placeholder 8"/>
          <p:cNvSpPr>
            <a:spLocks noGrp="1"/>
          </p:cNvSpPr>
          <p:nvPr>
            <p:ph type="body" sz="quarter" idx="13"/>
          </p:nvPr>
        </p:nvSpPr>
        <p:spPr>
          <a:xfrm>
            <a:off x="342899" y="1420585"/>
            <a:ext cx="1728000" cy="5508000"/>
          </a:xfrm>
        </p:spPr>
        <p:txBody>
          <a:bodyPr lIns="90000" tIns="46800" rIns="90000" bIns="46800"/>
          <a:lstStyle>
            <a:lvl1pPr>
              <a:spcBef>
                <a:spcPts val="1200"/>
              </a:spcBef>
              <a:defRPr sz="1000"/>
            </a:lvl1pPr>
            <a:lvl2pPr>
              <a:spcBef>
                <a:spcPts val="300"/>
              </a:spcBef>
              <a:defRPr sz="1000"/>
            </a:lvl2pPr>
            <a:lvl3pPr marL="0" indent="0">
              <a:spcBef>
                <a:spcPts val="300"/>
              </a:spcBef>
              <a:buFontTx/>
              <a:buNone/>
              <a:defRPr sz="1000" i="1"/>
            </a:lvl3pPr>
            <a:lvl4pPr marL="360000" indent="-360000">
              <a:spcBef>
                <a:spcPts val="300"/>
              </a:spcBef>
              <a:buClr>
                <a:schemeClr val="accent1"/>
              </a:buClr>
              <a:buFont typeface="Garamond" pitchFamily="18" charset="0"/>
              <a:buChar char="►"/>
              <a:defRPr sz="1000"/>
            </a:lvl4pPr>
            <a:lvl5pPr marL="432000" indent="-216000">
              <a:spcBef>
                <a:spcPts val="300"/>
              </a:spcBef>
              <a:buFont typeface="Garamond" panose="02020404030301010803" pitchFamily="18" charset="0"/>
              <a:buChar char="—"/>
              <a:defRPr lang="en-US" sz="1000" kern="1200" noProof="0" dirty="0" smtClean="0">
                <a:solidFill>
                  <a:schemeClr val="tx1"/>
                </a:solidFill>
                <a:latin typeface="+mn-lt"/>
                <a:ea typeface="+mn-ea"/>
                <a:cs typeface="+mn-cs"/>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sp>
        <p:nvSpPr>
          <p:cNvPr id="11" name="Text Placeholder 10"/>
          <p:cNvSpPr>
            <a:spLocks noGrp="1"/>
          </p:cNvSpPr>
          <p:nvPr>
            <p:ph type="body" sz="quarter" idx="14"/>
          </p:nvPr>
        </p:nvSpPr>
        <p:spPr>
          <a:xfrm>
            <a:off x="2070799" y="1420585"/>
            <a:ext cx="7632000" cy="5508000"/>
          </a:xfrm>
        </p:spPr>
        <p:txBody>
          <a:bodyPr lIns="90000" tIns="46800" rIns="90000" bIns="46800"/>
          <a:lstStyle>
            <a:lvl1pPr marL="1440000" indent="-1440000">
              <a:spcBef>
                <a:spcPts val="1200"/>
              </a:spcBef>
              <a:tabLst>
                <a:tab pos="1436688" algn="l"/>
                <a:tab pos="9347200" algn="r"/>
              </a:tabLst>
              <a:defRPr sz="1000"/>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Font typeface="Garamond" pitchFamily="18" charset="0"/>
              <a:buChar char="►"/>
              <a:defRPr sz="1000"/>
            </a:lvl4pPr>
            <a:lvl5pPr marL="2160000">
              <a:spcBef>
                <a:spcPts val="300"/>
              </a:spcBef>
              <a:defRPr sz="1000"/>
            </a:lvl5pPr>
            <a:lvl6pPr marL="2520000">
              <a:defRPr sz="1000"/>
            </a:lvl6pPr>
            <a:lvl7pPr marL="288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96895017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Pager - 3 Columns">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342899" y="1169989"/>
          <a:ext cx="9359903" cy="5769420"/>
        </p:xfrm>
        <a:graphic>
          <a:graphicData uri="http://schemas.openxmlformats.org/drawingml/2006/table">
            <a:tbl>
              <a:tblPr firstRow="1" bandRow="1">
                <a:tableStyleId>{69012ECD-51FC-41F1-AA8D-1B2483CD663E}</a:tableStyleId>
              </a:tblPr>
              <a:tblGrid>
                <a:gridCol w="1738994"/>
                <a:gridCol w="4890407"/>
                <a:gridCol w="2730502"/>
              </a:tblGrid>
              <a:tr h="235456">
                <a:tc>
                  <a:txBody>
                    <a:bodyPr/>
                    <a:lstStyle/>
                    <a:p>
                      <a:r>
                        <a:rPr lang="en-GB" sz="1000" dirty="0" smtClean="0"/>
                        <a:t>Candidate</a:t>
                      </a:r>
                      <a:endParaRPr lang="en-GB" sz="1000" dirty="0"/>
                    </a:p>
                  </a:txBody>
                  <a:tcPr/>
                </a:tc>
                <a:tc>
                  <a:txBody>
                    <a:bodyPr/>
                    <a:lstStyle/>
                    <a:p>
                      <a:r>
                        <a:rPr lang="en-GB" sz="1000" dirty="0" smtClean="0"/>
                        <a:t>Career</a:t>
                      </a:r>
                      <a:r>
                        <a:rPr lang="en-GB" sz="1000" baseline="0" dirty="0" smtClean="0"/>
                        <a:t> Summary</a:t>
                      </a:r>
                      <a:endParaRPr lang="en-GB" sz="1000" dirty="0"/>
                    </a:p>
                  </a:txBody>
                  <a:tcPr/>
                </a:tc>
                <a:tc>
                  <a:txBody>
                    <a:bodyPr/>
                    <a:lstStyle/>
                    <a:p>
                      <a:pPr marL="0" marR="0" indent="0" algn="l" defTabSz="1003960" rtl="0" eaLnBrk="1" fontAlgn="auto" latinLnBrk="0" hangingPunct="1">
                        <a:lnSpc>
                          <a:spcPct val="100000"/>
                        </a:lnSpc>
                        <a:spcBef>
                          <a:spcPts val="0"/>
                        </a:spcBef>
                        <a:spcAft>
                          <a:spcPts val="0"/>
                        </a:spcAft>
                        <a:buClrTx/>
                        <a:buSzTx/>
                        <a:buFontTx/>
                        <a:buNone/>
                        <a:tabLst/>
                        <a:defRPr/>
                      </a:pPr>
                      <a:r>
                        <a:rPr lang="en-GB" sz="1000" dirty="0" smtClean="0"/>
                        <a:t>Comments</a:t>
                      </a:r>
                      <a:endParaRPr lang="en-GB" sz="1000" dirty="0"/>
                    </a:p>
                  </a:txBody>
                  <a:tcPr/>
                </a:tc>
              </a:tr>
              <a:tr h="5525580">
                <a:tc>
                  <a:txBody>
                    <a:bodyPr/>
                    <a:lstStyle/>
                    <a:p>
                      <a:endParaRPr lang="en-GB" sz="1000" dirty="0"/>
                    </a:p>
                  </a:txBody>
                  <a:tcPr/>
                </a:tc>
                <a:tc>
                  <a:txBody>
                    <a:bodyPr/>
                    <a:lstStyle/>
                    <a:p>
                      <a:endParaRPr lang="en-GB" sz="1000" dirty="0"/>
                    </a:p>
                  </a:txBody>
                  <a:tcPr/>
                </a:tc>
                <a:tc>
                  <a:txBody>
                    <a:bodyPr/>
                    <a:lstStyle/>
                    <a:p>
                      <a:endParaRPr lang="en-GB" sz="1000" dirty="0"/>
                    </a:p>
                  </a:txBody>
                  <a:tcPr/>
                </a:tc>
              </a:tr>
            </a:tbl>
          </a:graphicData>
        </a:graphic>
      </p:graphicFrame>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sp>
        <p:nvSpPr>
          <p:cNvPr id="9" name="Text Placeholder 8"/>
          <p:cNvSpPr>
            <a:spLocks noGrp="1"/>
          </p:cNvSpPr>
          <p:nvPr>
            <p:ph type="body" sz="quarter" idx="13"/>
            <p:custDataLst>
              <p:tags r:id="rId1"/>
            </p:custDataLst>
          </p:nvPr>
        </p:nvSpPr>
        <p:spPr>
          <a:xfrm>
            <a:off x="342899" y="1420585"/>
            <a:ext cx="1728000" cy="5508000"/>
          </a:xfrm>
        </p:spPr>
        <p:txBody>
          <a:bodyPr lIns="90000" tIns="46800" rIns="90000" bIns="46800"/>
          <a:lstStyle>
            <a:lvl1pPr>
              <a:spcBef>
                <a:spcPts val="1200"/>
              </a:spcBef>
              <a:defRPr sz="1000"/>
            </a:lvl1pPr>
            <a:lvl2pPr>
              <a:spcBef>
                <a:spcPts val="300"/>
              </a:spcBef>
              <a:defRPr sz="1000"/>
            </a:lvl2pPr>
            <a:lvl3pPr marL="0" indent="0">
              <a:spcBef>
                <a:spcPts val="300"/>
              </a:spcBef>
              <a:buFontTx/>
              <a:buNone/>
              <a:defRPr sz="1000" i="1"/>
            </a:lvl3pPr>
            <a:lvl4pPr marL="358775" indent="-358775">
              <a:spcBef>
                <a:spcPts val="300"/>
              </a:spcBef>
              <a:buClr>
                <a:schemeClr val="accent1"/>
              </a:buClr>
              <a:buFont typeface="Garamond" pitchFamily="18" charset="0"/>
              <a:buChar char="►"/>
              <a:defRPr sz="1000"/>
            </a:lvl4pPr>
            <a:lvl5pPr marL="720000">
              <a:spcBef>
                <a:spcPts val="300"/>
              </a:spcBef>
              <a:defRPr sz="1000"/>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10"/>
          <p:cNvSpPr>
            <a:spLocks noGrp="1"/>
          </p:cNvSpPr>
          <p:nvPr>
            <p:ph type="body" sz="quarter" idx="14"/>
            <p:custDataLst>
              <p:tags r:id="rId2"/>
            </p:custDataLst>
          </p:nvPr>
        </p:nvSpPr>
        <p:spPr>
          <a:xfrm>
            <a:off x="2070850" y="1420585"/>
            <a:ext cx="4896000" cy="5508000"/>
          </a:xfrm>
        </p:spPr>
        <p:txBody>
          <a:bodyPr lIns="90000" tIns="46800" rIns="90000" bIns="46800"/>
          <a:lstStyle>
            <a:lvl1pPr marL="1440000" indent="-1440000">
              <a:spcBef>
                <a:spcPts val="1200"/>
              </a:spcBef>
              <a:tabLst>
                <a:tab pos="1436688" algn="l"/>
                <a:tab pos="9347200" algn="r"/>
              </a:tabLst>
              <a:defRPr sz="1000"/>
            </a:lvl1pPr>
            <a:lvl2pPr marL="1439863" indent="-1439863">
              <a:spcBef>
                <a:spcPts val="300"/>
              </a:spcBef>
              <a:tabLst>
                <a:tab pos="1436688" algn="l"/>
                <a:tab pos="9347200" algn="r"/>
              </a:tabLst>
              <a:defRPr sz="1000"/>
            </a:lvl2pPr>
            <a:lvl3pPr marL="1440000" indent="0">
              <a:spcBef>
                <a:spcPts val="300"/>
              </a:spcBef>
              <a:buFontTx/>
              <a:buNone/>
              <a:defRPr sz="1000"/>
            </a:lvl3pPr>
            <a:lvl4pPr marL="1800000" indent="-360000">
              <a:spcBef>
                <a:spcPts val="300"/>
              </a:spcBef>
              <a:buFont typeface="Garamond" pitchFamily="18" charset="0"/>
              <a:buChar char="►"/>
              <a:defRPr sz="1000"/>
            </a:lvl4pPr>
            <a:lvl5pPr marL="2160000">
              <a:spcBef>
                <a:spcPts val="300"/>
              </a:spcBef>
              <a:defRPr sz="1000"/>
            </a:lvl5pPr>
            <a:lvl6pPr marL="2520000">
              <a:defRPr sz="1000"/>
            </a:lvl6pPr>
            <a:lvl7pPr marL="2880000">
              <a:defRPr sz="1000"/>
            </a:lvl7pPr>
            <a:lvl8pPr marL="3240000">
              <a:spcBef>
                <a:spcPts val="900"/>
              </a:spcBef>
              <a:defRPr sz="1000"/>
            </a:lvl8pPr>
            <a:lvl9pPr marL="3600000">
              <a:spcBef>
                <a:spcPts val="9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2"/>
          <p:cNvSpPr>
            <a:spLocks noGrp="1"/>
          </p:cNvSpPr>
          <p:nvPr>
            <p:ph type="body" sz="quarter" idx="15"/>
          </p:nvPr>
        </p:nvSpPr>
        <p:spPr>
          <a:xfrm>
            <a:off x="6966802" y="1420585"/>
            <a:ext cx="2736000" cy="5508000"/>
          </a:xfrm>
        </p:spPr>
        <p:txBody>
          <a:bodyPr lIns="90000" tIns="46800" rIns="90000" bIns="46800"/>
          <a:lstStyle>
            <a:lvl1pPr>
              <a:spcBef>
                <a:spcPts val="1200"/>
              </a:spcBef>
              <a:defRPr sz="1000"/>
            </a:lvl1pPr>
            <a:lvl2pPr>
              <a:spcBef>
                <a:spcPts val="300"/>
              </a:spcBef>
              <a:defRPr sz="1000"/>
            </a:lvl2pPr>
            <a:lvl3pPr marL="0" indent="0">
              <a:spcBef>
                <a:spcPts val="300"/>
              </a:spcBef>
              <a:buFontTx/>
              <a:buNone/>
              <a:defRPr sz="1000" i="1"/>
            </a:lvl3pPr>
            <a:lvl4pPr marL="358775" indent="-358775">
              <a:spcBef>
                <a:spcPts val="300"/>
              </a:spcBef>
              <a:buClr>
                <a:schemeClr val="accent1"/>
              </a:buClr>
              <a:buFont typeface="Garamond" pitchFamily="18" charset="0"/>
              <a:buChar char="►"/>
              <a:defRPr sz="1000"/>
            </a:lvl4pPr>
            <a:lvl5pPr marL="360000" indent="0">
              <a:spcBef>
                <a:spcPts val="300"/>
              </a:spcBef>
              <a:buNone/>
              <a:defRPr sz="1000"/>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336625098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One Pager - 4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graphicFrame>
        <p:nvGraphicFramePr>
          <p:cNvPr id="6" name="Table 5"/>
          <p:cNvGraphicFramePr>
            <a:graphicFrameLocks noGrp="1"/>
          </p:cNvGraphicFramePr>
          <p:nvPr>
            <p:extLst/>
          </p:nvPr>
        </p:nvGraphicFramePr>
        <p:xfrm>
          <a:off x="342899" y="1169989"/>
          <a:ext cx="9359900" cy="5769420"/>
        </p:xfrm>
        <a:graphic>
          <a:graphicData uri="http://schemas.openxmlformats.org/drawingml/2006/table">
            <a:tbl>
              <a:tblPr firstRow="1" bandRow="1">
                <a:tableStyleId>{69012ECD-51FC-41F1-AA8D-1B2483CD663E}</a:tableStyleId>
              </a:tblPr>
              <a:tblGrid>
                <a:gridCol w="1738994"/>
                <a:gridCol w="3396343"/>
                <a:gridCol w="2107584"/>
                <a:gridCol w="2116979"/>
              </a:tblGrid>
              <a:tr h="235456">
                <a:tc>
                  <a:txBody>
                    <a:bodyPr/>
                    <a:lstStyle/>
                    <a:p>
                      <a:r>
                        <a:rPr lang="en-GB" sz="1000" dirty="0" smtClean="0"/>
                        <a:t>Candidate</a:t>
                      </a:r>
                      <a:endParaRPr lang="en-GB" sz="1000" dirty="0"/>
                    </a:p>
                  </a:txBody>
                  <a:tcPr/>
                </a:tc>
                <a:tc>
                  <a:txBody>
                    <a:bodyPr/>
                    <a:lstStyle/>
                    <a:p>
                      <a:r>
                        <a:rPr lang="en-GB" sz="1000" dirty="0" smtClean="0"/>
                        <a:t>Career</a:t>
                      </a:r>
                      <a:r>
                        <a:rPr lang="en-GB" sz="1000" baseline="0" dirty="0" smtClean="0"/>
                        <a:t> Summary</a:t>
                      </a:r>
                      <a:endParaRPr lang="en-GB" sz="1000" dirty="0"/>
                    </a:p>
                  </a:txBody>
                  <a:tcPr/>
                </a:tc>
                <a:tc>
                  <a:txBody>
                    <a:bodyPr/>
                    <a:lstStyle/>
                    <a:p>
                      <a:r>
                        <a:rPr lang="en-GB" sz="1000" dirty="0" smtClean="0"/>
                        <a:t>Current Boards*</a:t>
                      </a:r>
                      <a:endParaRPr lang="en-GB" sz="1000" dirty="0"/>
                    </a:p>
                  </a:txBody>
                  <a:tcPr/>
                </a:tc>
                <a:tc>
                  <a:txBody>
                    <a:bodyPr/>
                    <a:lstStyle/>
                    <a:p>
                      <a:pPr marL="0" marR="0" indent="0" algn="l" defTabSz="1003960" rtl="0" eaLnBrk="1" fontAlgn="auto" latinLnBrk="0" hangingPunct="1">
                        <a:lnSpc>
                          <a:spcPct val="100000"/>
                        </a:lnSpc>
                        <a:spcBef>
                          <a:spcPts val="0"/>
                        </a:spcBef>
                        <a:spcAft>
                          <a:spcPts val="0"/>
                        </a:spcAft>
                        <a:buClrTx/>
                        <a:buSzTx/>
                        <a:buFontTx/>
                        <a:buNone/>
                        <a:tabLst/>
                        <a:defRPr/>
                      </a:pPr>
                      <a:r>
                        <a:rPr lang="en-GB" sz="1000" dirty="0" smtClean="0"/>
                        <a:t>Comments</a:t>
                      </a:r>
                      <a:endParaRPr lang="en-GB" sz="1000" dirty="0"/>
                    </a:p>
                  </a:txBody>
                  <a:tcPr/>
                </a:tc>
              </a:tr>
              <a:tr h="5525580">
                <a:tc>
                  <a:txBody>
                    <a:bodyPr/>
                    <a:lstStyle/>
                    <a:p>
                      <a:endParaRPr lang="en-GB" sz="1000" dirty="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tr>
            </a:tbl>
          </a:graphicData>
        </a:graphic>
      </p:graphicFrame>
      <p:sp>
        <p:nvSpPr>
          <p:cNvPr id="7" name="TextBox 6"/>
          <p:cNvSpPr txBox="1"/>
          <p:nvPr/>
        </p:nvSpPr>
        <p:spPr>
          <a:xfrm>
            <a:off x="342900" y="7002735"/>
            <a:ext cx="9359901" cy="123111"/>
          </a:xfrm>
          <a:prstGeom prst="rect">
            <a:avLst/>
          </a:prstGeom>
          <a:noFill/>
        </p:spPr>
        <p:txBody>
          <a:bodyPr wrap="square" lIns="0" tIns="0" rIns="0" bIns="0" rtlCol="0">
            <a:spAutoFit/>
          </a:bodyPr>
          <a:lstStyle/>
          <a:p>
            <a:r>
              <a:rPr lang="en-US" sz="800" noProof="0" dirty="0" smtClean="0"/>
              <a:t>* To</a:t>
            </a:r>
            <a:r>
              <a:rPr lang="en-US" sz="800" baseline="0" noProof="0" dirty="0" smtClean="0"/>
              <a:t> be verified</a:t>
            </a:r>
            <a:endParaRPr lang="en-US" sz="800" noProof="0" dirty="0" smtClean="0"/>
          </a:p>
        </p:txBody>
      </p:sp>
      <p:sp>
        <p:nvSpPr>
          <p:cNvPr id="11" name="Text Placeholder 10"/>
          <p:cNvSpPr>
            <a:spLocks noGrp="1"/>
          </p:cNvSpPr>
          <p:nvPr>
            <p:ph type="body" sz="quarter" idx="14"/>
            <p:custDataLst>
              <p:tags r:id="rId1"/>
            </p:custDataLst>
          </p:nvPr>
        </p:nvSpPr>
        <p:spPr bwMode="auto">
          <a:xfrm>
            <a:off x="2070851" y="1420585"/>
            <a:ext cx="3384000" cy="5508000"/>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90000" tIns="46800" rIns="90000" bIns="46800" anchor="t" anchorCtr="0">
            <a:noAutofit/>
          </a:bodyPr>
          <a:lstStyle>
            <a:lvl1pPr marL="1440000" indent="-1440000" algn="l">
              <a:lnSpc>
                <a:spcPct val="105000"/>
              </a:lnSpc>
              <a:spcBef>
                <a:spcPts val="1200"/>
              </a:spcBef>
              <a:spcAft>
                <a:spcPts val="0"/>
              </a:spcAft>
              <a:tabLst>
                <a:tab pos="1436688" algn="l"/>
                <a:tab pos="9347200" algn="r"/>
              </a:tabLst>
              <a:defRPr kumimoji="0" sz="1000" b="1" i="0" u="none" baseline="0">
                <a:solidFill>
                  <a:srgbClr val="1A3459"/>
                </a:solidFill>
                <a:latin typeface="Verdana"/>
              </a:defRPr>
            </a:lvl1pPr>
            <a:lvl2pPr marL="1439863" indent="-1439863" algn="l">
              <a:lnSpc>
                <a:spcPct val="105000"/>
              </a:lnSpc>
              <a:spcBef>
                <a:spcPts val="300"/>
              </a:spcBef>
              <a:spcAft>
                <a:spcPts val="0"/>
              </a:spcAft>
              <a:tabLst>
                <a:tab pos="1436688" algn="l"/>
                <a:tab pos="9347200" algn="r"/>
              </a:tabLst>
              <a:defRPr kumimoji="0" sz="1000" b="0" i="0" u="none" baseline="0">
                <a:solidFill>
                  <a:srgbClr val="000000"/>
                </a:solidFill>
                <a:latin typeface="Verdana"/>
              </a:defRPr>
            </a:lvl2pPr>
            <a:lvl3pPr marL="1440000" indent="0" algn="l">
              <a:lnSpc>
                <a:spcPct val="105000"/>
              </a:lnSpc>
              <a:spcBef>
                <a:spcPts val="300"/>
              </a:spcBef>
              <a:spcAft>
                <a:spcPts val="0"/>
              </a:spcAft>
              <a:buFontTx/>
              <a:buNone/>
              <a:defRPr kumimoji="0" sz="1000" b="0" i="0" u="none" baseline="0">
                <a:solidFill>
                  <a:srgbClr val="000000"/>
                </a:solidFill>
                <a:latin typeface="Verdana"/>
              </a:defRPr>
            </a:lvl3pPr>
            <a:lvl4pPr marL="1800000" indent="-360000" algn="l">
              <a:lnSpc>
                <a:spcPct val="105000"/>
              </a:lnSpc>
              <a:spcBef>
                <a:spcPts val="300"/>
              </a:spcBef>
              <a:spcAft>
                <a:spcPts val="0"/>
              </a:spcAft>
              <a:buClr>
                <a:srgbClr val="1A3459"/>
              </a:buClr>
              <a:buSzPct val="100000"/>
              <a:buFont typeface="Garamond"/>
              <a:buChar char="►"/>
              <a:defRPr kumimoji="0" sz="1000" b="0" i="0" u="none" baseline="0">
                <a:solidFill>
                  <a:srgbClr val="000000"/>
                </a:solidFill>
                <a:latin typeface="Verdana"/>
              </a:defRPr>
            </a:lvl4pPr>
            <a:lvl5pPr marL="2160000" indent="-360000" algn="l">
              <a:lnSpc>
                <a:spcPct val="105000"/>
              </a:lnSpc>
              <a:spcBef>
                <a:spcPts val="300"/>
              </a:spcBef>
              <a:spcAft>
                <a:spcPts val="0"/>
              </a:spcAft>
              <a:buClr>
                <a:srgbClr val="1A3459"/>
              </a:buClr>
              <a:buSzPct val="100000"/>
              <a:buFont typeface="Verdana"/>
              <a:buChar char="―"/>
              <a:defRPr kumimoji="0" sz="1000" b="0" i="0" u="none" baseline="0">
                <a:solidFill>
                  <a:srgbClr val="000000"/>
                </a:solidFill>
                <a:latin typeface="Verdana"/>
              </a:defRPr>
            </a:lvl5pPr>
            <a:lvl6pPr marL="2520000" indent="-358775">
              <a:defRPr sz="1000"/>
            </a:lvl6pPr>
            <a:lvl7pPr marL="2880000" indent="-360000">
              <a:defRPr sz="1000"/>
            </a:lvl7pPr>
            <a:lvl8pPr marL="3240000">
              <a:defRPr sz="1000"/>
            </a:lvl8pPr>
            <a:lvl9pPr marL="3600000">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2"/>
          <p:cNvSpPr>
            <a:spLocks noGrp="1"/>
          </p:cNvSpPr>
          <p:nvPr>
            <p:ph type="body" sz="quarter" idx="15"/>
          </p:nvPr>
        </p:nvSpPr>
        <p:spPr>
          <a:xfrm>
            <a:off x="5478833" y="1420585"/>
            <a:ext cx="2088000" cy="5508000"/>
          </a:xfrm>
        </p:spPr>
        <p:txBody>
          <a:bodyPr lIns="90000" tIns="46800" rIns="90000" bIns="46800"/>
          <a:lstStyle>
            <a:lvl1pPr>
              <a:spcBef>
                <a:spcPts val="1200"/>
              </a:spcBef>
              <a:defRPr sz="1000"/>
            </a:lvl1pPr>
            <a:lvl2pPr>
              <a:spcBef>
                <a:spcPts val="300"/>
              </a:spcBef>
              <a:defRPr sz="1000"/>
            </a:lvl2pPr>
            <a:lvl3pPr marL="0" indent="0">
              <a:spcBef>
                <a:spcPts val="300"/>
              </a:spcBef>
              <a:buFontTx/>
              <a:buNone/>
              <a:defRPr sz="1000" i="1"/>
            </a:lvl3pPr>
            <a:lvl4pPr marL="358775" indent="-358775">
              <a:spcBef>
                <a:spcPts val="300"/>
              </a:spcBef>
              <a:buClr>
                <a:schemeClr val="accent1"/>
              </a:buClr>
              <a:buFont typeface="Garamond" pitchFamily="18" charset="0"/>
              <a:buChar char="►"/>
              <a:defRPr sz="1000"/>
            </a:lvl4pPr>
            <a:lvl5pPr marL="720000">
              <a:spcBef>
                <a:spcPts val="300"/>
              </a:spcBef>
              <a:defRPr sz="1000"/>
            </a:lvl5pPr>
            <a:lvl6pPr>
              <a:defRPr sz="1000"/>
            </a:lvl6pPr>
            <a:lvl7pPr>
              <a:defRPr sz="1000"/>
            </a:lvl7pPr>
            <a:lvl8pPr>
              <a:defRPr sz="1000"/>
            </a:lvl8pPr>
            <a:lvl9pPr>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14"/>
          <p:cNvSpPr>
            <a:spLocks noGrp="1"/>
          </p:cNvSpPr>
          <p:nvPr>
            <p:ph type="body" sz="quarter" idx="16"/>
          </p:nvPr>
        </p:nvSpPr>
        <p:spPr>
          <a:xfrm>
            <a:off x="7578799" y="1420585"/>
            <a:ext cx="2124000" cy="5508000"/>
          </a:xfrm>
        </p:spPr>
        <p:txBody>
          <a:bodyPr lIns="90000" tIns="46800" rIns="90000" bIns="46800"/>
          <a:lstStyle>
            <a:lvl1pPr>
              <a:defRPr sz="1000"/>
            </a:lvl1pPr>
            <a:lvl2pPr>
              <a:spcBef>
                <a:spcPts val="300"/>
              </a:spcBef>
              <a:defRPr sz="1000"/>
            </a:lvl2pPr>
            <a:lvl3pPr marL="0" indent="0">
              <a:spcBef>
                <a:spcPts val="300"/>
              </a:spcBef>
              <a:buFontTx/>
              <a:buNone/>
              <a:defRPr sz="1000" i="1"/>
            </a:lvl3pPr>
            <a:lvl4pPr marL="358775" indent="-358775">
              <a:spcBef>
                <a:spcPts val="300"/>
              </a:spcBef>
              <a:buClr>
                <a:schemeClr val="accent1"/>
              </a:buClr>
              <a:buFont typeface="Garamond" pitchFamily="18" charset="0"/>
              <a:buChar char="►"/>
              <a:defRPr sz="1000"/>
            </a:lvl4pPr>
            <a:lvl5pPr marL="720000">
              <a:spcBef>
                <a:spcPts val="300"/>
              </a:spcBef>
              <a:defRPr sz="1000"/>
            </a:lvl5pPr>
            <a:lvl6pPr>
              <a:defRPr sz="1000"/>
            </a:lvl6pPr>
            <a:lvl7pPr>
              <a:defRPr sz="1000"/>
            </a:lvl7pPr>
            <a:lvl8pPr>
              <a:defRPr sz="1000"/>
            </a:lvl8pPr>
            <a:lvl9pPr>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6" name="Text Placeholder 8"/>
          <p:cNvSpPr>
            <a:spLocks noGrp="1"/>
          </p:cNvSpPr>
          <p:nvPr>
            <p:ph type="body" sz="quarter" idx="13"/>
            <p:custDataLst>
              <p:tags r:id="rId2"/>
            </p:custDataLst>
          </p:nvPr>
        </p:nvSpPr>
        <p:spPr bwMode="auto">
          <a:xfrm>
            <a:off x="342899" y="1420585"/>
            <a:ext cx="1728000" cy="5508000"/>
          </a:xfrm>
          <a:noFill/>
          <a:ln/>
          <a:extLst>
            <a:ext uri="{909E8E84-426E-40DD-AFC4-6F175D3DCCD1}">
              <a14:hiddenFill xmlns:a14="http://schemas.microsoft.com/office/drawing/2010/main">
                <a:solidFill>
                  <a:srgbClr val="FFFFFF">
                    <a:alpha val="0"/>
                  </a:srgbClr>
                </a:solidFill>
              </a14:hiddenFill>
            </a:ext>
          </a:extLst>
        </p:spPr>
        <p:txBody>
          <a:bodyPr vert="horz" wrap="square" lIns="90000" tIns="46800" rIns="90000" bIns="46800" anchor="t" anchorCtr="0">
            <a:noAutofit/>
          </a:bodyPr>
          <a:lstStyle>
            <a:lvl1pPr marL="0" marR="0" indent="0" algn="l" defTabSz="1003960" rtl="0" eaLnBrk="1" fontAlgn="auto" latinLnBrk="0" hangingPunct="1">
              <a:lnSpc>
                <a:spcPct val="105000"/>
              </a:lnSpc>
              <a:spcBef>
                <a:spcPts val="1200"/>
              </a:spcBef>
              <a:spcAft>
                <a:spcPts val="0"/>
              </a:spcAft>
              <a:buSzTx/>
              <a:tabLst>
                <a:tab pos="9348308" algn="r"/>
              </a:tabLst>
              <a:defRPr kumimoji="0" sz="1000" b="1" i="0" u="none" baseline="0">
                <a:solidFill>
                  <a:srgbClr val="1A3459"/>
                </a:solidFill>
                <a:latin typeface="Verdana"/>
              </a:defRPr>
            </a:lvl1pPr>
            <a:lvl2pPr marL="0" marR="0" indent="0" algn="l" defTabSz="1003960" rtl="0" eaLnBrk="1" fontAlgn="auto" latinLnBrk="0" hangingPunct="1">
              <a:lnSpc>
                <a:spcPct val="105000"/>
              </a:lnSpc>
              <a:spcBef>
                <a:spcPts val="300"/>
              </a:spcBef>
              <a:spcAft>
                <a:spcPts val="0"/>
              </a:spcAft>
              <a:buSzTx/>
              <a:tabLst>
                <a:tab pos="9348308" algn="r"/>
              </a:tabLst>
              <a:defRPr kumimoji="0" sz="1000" b="0" i="0" u="none" baseline="0">
                <a:solidFill>
                  <a:srgbClr val="000000"/>
                </a:solidFill>
                <a:latin typeface="Verdana"/>
              </a:defRPr>
            </a:lvl2pPr>
            <a:lvl3pPr marL="0" marR="0" indent="0" algn="l" defTabSz="1003960" rtl="0" eaLnBrk="1" fontAlgn="auto" latinLnBrk="0" hangingPunct="1">
              <a:lnSpc>
                <a:spcPct val="105000"/>
              </a:lnSpc>
              <a:spcBef>
                <a:spcPts val="300"/>
              </a:spcBef>
              <a:spcAft>
                <a:spcPts val="0"/>
              </a:spcAft>
              <a:buSzTx/>
              <a:buFontTx/>
              <a:buNone/>
              <a:tabLst>
                <a:tab pos="9348308" algn="r"/>
              </a:tabLst>
              <a:defRPr kumimoji="0" sz="1000" b="0" i="1" u="none" baseline="0">
                <a:solidFill>
                  <a:srgbClr val="000000"/>
                </a:solidFill>
                <a:latin typeface="Verdana"/>
              </a:defRPr>
            </a:lvl3pPr>
            <a:lvl4pPr marL="358775" marR="0" indent="-358775" algn="l" defTabSz="1003960" rtl="0" eaLnBrk="1" fontAlgn="auto" latinLnBrk="0" hangingPunct="1">
              <a:lnSpc>
                <a:spcPct val="105000"/>
              </a:lnSpc>
              <a:spcBef>
                <a:spcPts val="300"/>
              </a:spcBef>
              <a:spcAft>
                <a:spcPts val="0"/>
              </a:spcAft>
              <a:buClr>
                <a:srgbClr val="1A3459"/>
              </a:buClr>
              <a:buSzPct val="100000"/>
              <a:buFont typeface="Garamond"/>
              <a:buChar char="►"/>
              <a:tabLst>
                <a:tab pos="9348308" algn="r"/>
              </a:tabLst>
              <a:defRPr kumimoji="0" sz="1000" b="0" i="0" u="none" baseline="0">
                <a:solidFill>
                  <a:srgbClr val="000000"/>
                </a:solidFill>
                <a:latin typeface="Verdana"/>
              </a:defRPr>
            </a:lvl4pPr>
            <a:lvl5pPr marL="720000" marR="0" indent="-360000" algn="l" defTabSz="1003960" rtl="0" eaLnBrk="1" fontAlgn="auto" latinLnBrk="0" hangingPunct="1">
              <a:lnSpc>
                <a:spcPct val="105000"/>
              </a:lnSpc>
              <a:spcBef>
                <a:spcPts val="300"/>
              </a:spcBef>
              <a:spcAft>
                <a:spcPts val="0"/>
              </a:spcAft>
              <a:buClr>
                <a:srgbClr val="1A3459"/>
              </a:buClr>
              <a:buSzPct val="100000"/>
              <a:buFont typeface="Verdana"/>
              <a:buChar char="―"/>
              <a:tabLst>
                <a:tab pos="9348308" algn="r"/>
              </a:tabLst>
              <a:defRPr kumimoji="0" sz="1000" b="0" i="0" u="none" baseline="0">
                <a:solidFill>
                  <a:srgbClr val="000000"/>
                </a:solidFill>
                <a:latin typeface="Verdana"/>
              </a:defRPr>
            </a:lvl5pPr>
            <a:lvl6pPr marL="1080000">
              <a:spcBef>
                <a:spcPts val="300"/>
              </a:spcBef>
              <a:defRPr sz="1000"/>
            </a:lvl6pPr>
            <a:lvl7pPr marL="1440000">
              <a:spcBef>
                <a:spcPts val="300"/>
              </a:spcBef>
              <a:defRPr sz="1000"/>
            </a:lvl7pPr>
            <a:lvl8pPr marL="1800000">
              <a:spcBef>
                <a:spcPts val="300"/>
              </a:spcBef>
              <a:defRPr sz="1000"/>
            </a:lvl8pPr>
            <a:lvl9pPr marL="2160000">
              <a:spcBef>
                <a:spcPts val="300"/>
              </a:spcBef>
              <a:defRPr sz="1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463373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171;MIO_UPDATE=True;MIO_VERSION=12.01.2015 15:28:48;MIO_DBID=B8FCB12D-AF03-49EB-9F79-BB019BE99E1E;MIO_LASTDOWNLOADED=12.01.2015 14:28:48;MIO_SKIPVERSION=01.01.0001 00:00:00;MIO_OBJECTNAME=HS Print - NA;MIO_LASTEDITORNAME=Derrick Waylen">
    <p:bg>
      <p:bgRef idx="1001">
        <a:schemeClr val="bg1"/>
      </p:bgRef>
    </p:bg>
    <p:spTree>
      <p:nvGrpSpPr>
        <p:cNvPr id="1" name=""/>
        <p:cNvGrpSpPr/>
        <p:nvPr/>
      </p:nvGrpSpPr>
      <p:grpSpPr>
        <a:xfrm>
          <a:off x="0" y="0"/>
          <a:ext cx="0" cy="0"/>
          <a:chOff x="0" y="0"/>
          <a:chExt cx="0" cy="0"/>
        </a:xfrm>
      </p:grpSpPr>
      <p:sp>
        <p:nvSpPr>
          <p:cNvPr id="11" name="TextBox 10"/>
          <p:cNvSpPr txBox="1"/>
          <p:nvPr userDrawn="1"/>
        </p:nvSpPr>
        <p:spPr>
          <a:xfrm>
            <a:off x="9011600" y="7244452"/>
            <a:ext cx="691200" cy="123111"/>
          </a:xfrm>
          <a:prstGeom prst="rect">
            <a:avLst/>
          </a:prstGeom>
          <a:noFill/>
        </p:spPr>
        <p:txBody>
          <a:bodyPr vert="horz" wrap="square" lIns="0" tIns="0" rIns="0" bIns="0" rtlCol="0" anchor="ctr">
            <a:spAutoFit/>
          </a:bodyPr>
          <a:lstStyle>
            <a:defPPr>
              <a:defRPr lang="en-US"/>
            </a:defPPr>
            <a:lvl1pPr algn="r">
              <a:defRPr sz="800">
                <a:solidFill>
                  <a:schemeClr val="tx1">
                    <a:tint val="75000"/>
                  </a:schemeClr>
                </a:solidFill>
              </a:defRPr>
            </a:lvl1pPr>
          </a:lstStyle>
          <a:p>
            <a:pPr lvl="0"/>
            <a:fld id="{FE300215-EBA3-48DF-A465-EB97AD7B8718}" type="slidenum">
              <a:rPr lang="en-GB" noProof="0" smtClean="0"/>
              <a:t>‹Nº›</a:t>
            </a:fld>
            <a:endParaRPr lang="en-GB" noProof="0" dirty="0"/>
          </a:p>
        </p:txBody>
      </p:sp>
      <p:sp>
        <p:nvSpPr>
          <p:cNvPr id="2" name="Title Placeholder 1"/>
          <p:cNvSpPr>
            <a:spLocks noGrp="1"/>
          </p:cNvSpPr>
          <p:nvPr>
            <p:ph type="title"/>
          </p:nvPr>
        </p:nvSpPr>
        <p:spPr bwMode="gray">
          <a:xfrm>
            <a:off x="342900" y="233364"/>
            <a:ext cx="8064500" cy="649287"/>
          </a:xfrm>
          <a:prstGeom prst="rect">
            <a:avLst/>
          </a:prstGeom>
        </p:spPr>
        <p:txBody>
          <a:bodyPr vert="horz" lIns="0" tIns="0" rIns="0" bIns="0" rtlCol="0" anchor="b">
            <a:noAutofit/>
          </a:bodyPr>
          <a:lstStyle/>
          <a:p>
            <a:r>
              <a:rPr lang="en-US" noProof="0" smtClean="0"/>
              <a:t>Click to edit Master title style</a:t>
            </a:r>
            <a:endParaRPr lang="en-GB" noProof="0" dirty="0"/>
          </a:p>
        </p:txBody>
      </p:sp>
      <p:sp>
        <p:nvSpPr>
          <p:cNvPr id="3" name="Text Placeholder 2"/>
          <p:cNvSpPr>
            <a:spLocks noGrp="1"/>
          </p:cNvSpPr>
          <p:nvPr>
            <p:ph type="body" idx="1"/>
            <p:custDataLst>
              <p:tags r:id="rId31"/>
            </p:custDataLst>
          </p:nvPr>
        </p:nvSpPr>
        <p:spPr bwMode="gray">
          <a:xfrm>
            <a:off x="342901" y="1169989"/>
            <a:ext cx="9359900" cy="5761037"/>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smtClean="0"/>
          </a:p>
        </p:txBody>
      </p:sp>
      <p:cxnSp>
        <p:nvCxnSpPr>
          <p:cNvPr id="7" name="Straight Connector 6"/>
          <p:cNvCxnSpPr/>
          <p:nvPr/>
        </p:nvCxnSpPr>
        <p:spPr bwMode="gray">
          <a:xfrm>
            <a:off x="342000" y="954000"/>
            <a:ext cx="93564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342000" y="7189909"/>
            <a:ext cx="9356400" cy="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sp>
        <p:nvSpPr>
          <p:cNvPr id="4" name="empower - DO NOT DELETE!!!" hidden="1"/>
          <p:cNvSpPr/>
          <p:nvPr userDrawn="1">
            <p:custDataLst>
              <p:tags r:id="rId32"/>
            </p:custDataLst>
          </p:nvPr>
        </p:nvSpPr>
        <p:spPr>
          <a:xfrm>
            <a:off x="-1270000" y="-1270000"/>
            <a:ext cx="0" cy="0"/>
          </a:xfrm>
          <a:prstGeom prst="ellipse">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GB" sz="1200" b="1" dirty="0" smtClean="0"/>
          </a:p>
        </p:txBody>
      </p:sp>
      <p:pic>
        <p:nvPicPr>
          <p:cNvPr id="6" name="Picture 5"/>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342900" y="7244451"/>
            <a:ext cx="2437200" cy="134931"/>
          </a:xfrm>
          <a:prstGeom prst="rect">
            <a:avLst/>
          </a:prstGeom>
        </p:spPr>
      </p:pic>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8625512" y="245118"/>
            <a:ext cx="821817" cy="604076"/>
          </a:xfrm>
          <a:prstGeom prst="rect">
            <a:avLst/>
          </a:prstGeom>
        </p:spPr>
      </p:pic>
    </p:spTree>
    <p:extLst>
      <p:ext uri="{BB962C8B-B14F-4D97-AF65-F5344CB8AC3E}">
        <p14:creationId xmlns:p14="http://schemas.microsoft.com/office/powerpoint/2010/main" val="237931909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8" r:id="rId7"/>
    <p:sldLayoutId id="2147483699" r:id="rId8"/>
    <p:sldLayoutId id="2147483700" r:id="rId9"/>
    <p:sldLayoutId id="2147483692" r:id="rId10"/>
    <p:sldLayoutId id="2147483693" r:id="rId11"/>
    <p:sldLayoutId id="2147483696" r:id="rId12"/>
    <p:sldLayoutId id="2147483697" r:id="rId13"/>
    <p:sldLayoutId id="2147483695" r:id="rId14"/>
    <p:sldLayoutId id="2147483711" r:id="rId15"/>
    <p:sldLayoutId id="2147483712" r:id="rId16"/>
    <p:sldLayoutId id="2147483713" r:id="rId17"/>
    <p:sldLayoutId id="2147483714" r:id="rId18"/>
    <p:sldLayoutId id="2147483726" r:id="rId19"/>
    <p:sldLayoutId id="2147483727" r:id="rId20"/>
    <p:sldLayoutId id="2147483728" r:id="rId21"/>
    <p:sldLayoutId id="2147483729" r:id="rId22"/>
    <p:sldLayoutId id="2147483756" r:id="rId23"/>
    <p:sldLayoutId id="2147483757" r:id="rId24"/>
    <p:sldLayoutId id="2147483758" r:id="rId25"/>
    <p:sldLayoutId id="2147483759" r:id="rId26"/>
    <p:sldLayoutId id="2147483760" r:id="rId27"/>
    <p:sldLayoutId id="2147483793" r:id="rId28"/>
    <p:sldLayoutId id="2147483794" r:id="rId29"/>
  </p:sldLayoutIdLst>
  <p:timing>
    <p:tnLst>
      <p:par>
        <p:cTn id="1" dur="indefinite" restart="never" nodeType="tmRoot"/>
      </p:par>
    </p:tnLst>
  </p:timing>
  <p:hf sldNum="0" hdr="0" ftr="0" dt="0"/>
  <p:txStyles>
    <p:titleStyle>
      <a:lvl1pPr algn="l" defTabSz="1003960" rtl="0" eaLnBrk="1" latinLnBrk="0" hangingPunct="1">
        <a:spcBef>
          <a:spcPct val="0"/>
        </a:spcBef>
        <a:buNone/>
        <a:defRPr sz="1800" kern="1200">
          <a:solidFill>
            <a:schemeClr val="tx2"/>
          </a:solidFill>
          <a:latin typeface="+mj-lt"/>
          <a:ea typeface="+mj-ea"/>
          <a:cs typeface="+mj-cs"/>
        </a:defRPr>
      </a:lvl1pPr>
    </p:titleStyle>
    <p:bodyStyle>
      <a:lvl1pPr marL="0" indent="0" algn="l" defTabSz="1003960" rtl="0" eaLnBrk="1" latinLnBrk="0" hangingPunct="1">
        <a:lnSpc>
          <a:spcPct val="105000"/>
        </a:lnSpc>
        <a:spcBef>
          <a:spcPts val="1800"/>
        </a:spcBef>
        <a:buFont typeface="Arial" pitchFamily="34" charset="0"/>
        <a:buNone/>
        <a:tabLst>
          <a:tab pos="9348307" algn="r"/>
        </a:tabLst>
        <a:defRPr sz="1200" b="1" kern="1200">
          <a:solidFill>
            <a:schemeClr val="tx2"/>
          </a:solidFill>
          <a:latin typeface="+mn-lt"/>
          <a:ea typeface="+mn-ea"/>
          <a:cs typeface="+mn-cs"/>
        </a:defRPr>
      </a:lvl1pPr>
      <a:lvl2pPr marL="0" indent="0" algn="l" defTabSz="1003960" rtl="0" eaLnBrk="1" latinLnBrk="0" hangingPunct="1">
        <a:lnSpc>
          <a:spcPct val="105000"/>
        </a:lnSpc>
        <a:spcBef>
          <a:spcPts val="600"/>
        </a:spcBef>
        <a:buFont typeface="Arial" pitchFamily="34" charset="0"/>
        <a:buNone/>
        <a:tabLst>
          <a:tab pos="9348307" algn="r"/>
        </a:tabLst>
        <a:defRPr sz="1200" kern="1200">
          <a:solidFill>
            <a:schemeClr val="tx1"/>
          </a:solidFill>
          <a:latin typeface="+mn-lt"/>
          <a:ea typeface="+mn-ea"/>
          <a:cs typeface="+mn-cs"/>
        </a:defRPr>
      </a:lvl2pPr>
      <a:lvl3pPr marL="360000" indent="-360000" algn="l" defTabSz="1003960" rtl="0" eaLnBrk="1" latinLnBrk="0" hangingPunct="1">
        <a:lnSpc>
          <a:spcPct val="105000"/>
        </a:lnSpc>
        <a:spcBef>
          <a:spcPts val="600"/>
        </a:spcBef>
        <a:buClr>
          <a:schemeClr val="tx2"/>
        </a:buClr>
        <a:buFont typeface="Garamond" pitchFamily="18" charset="0"/>
        <a:buChar char="►"/>
        <a:tabLst>
          <a:tab pos="9348307" algn="r"/>
        </a:tabLst>
        <a:defRPr sz="1200" kern="1200">
          <a:solidFill>
            <a:schemeClr val="tx1"/>
          </a:solidFill>
          <a:latin typeface="+mn-lt"/>
          <a:ea typeface="+mn-ea"/>
          <a:cs typeface="+mn-cs"/>
        </a:defRPr>
      </a:lvl3pPr>
      <a:lvl4pPr marL="720000" indent="-360000" algn="l" defTabSz="1003960" rtl="0" eaLnBrk="1" latinLnBrk="0" hangingPunct="1">
        <a:lnSpc>
          <a:spcPct val="105000"/>
        </a:lnSpc>
        <a:spcBef>
          <a:spcPts val="600"/>
        </a:spcBef>
        <a:buClr>
          <a:schemeClr val="tx2"/>
        </a:buClr>
        <a:buFont typeface="Verdana" pitchFamily="34" charset="0"/>
        <a:buChar char="―"/>
        <a:tabLst>
          <a:tab pos="9348307" algn="r"/>
        </a:tabLst>
        <a:defRPr sz="1200" kern="1200">
          <a:solidFill>
            <a:schemeClr val="tx1"/>
          </a:solidFill>
          <a:latin typeface="+mn-lt"/>
          <a:ea typeface="+mn-ea"/>
          <a:cs typeface="+mn-cs"/>
        </a:defRPr>
      </a:lvl4pPr>
      <a:lvl5pPr marL="1080000" indent="-358756" algn="l" defTabSz="1003960" rtl="0" eaLnBrk="1" latinLnBrk="0" hangingPunct="1">
        <a:lnSpc>
          <a:spcPct val="105000"/>
        </a:lnSpc>
        <a:spcBef>
          <a:spcPts val="600"/>
        </a:spcBef>
        <a:buClr>
          <a:schemeClr val="tx2"/>
        </a:buClr>
        <a:buFont typeface="Verdana" pitchFamily="34" charset="0"/>
        <a:buChar char="―"/>
        <a:tabLst>
          <a:tab pos="9348307" algn="r"/>
        </a:tabLst>
        <a:defRPr sz="1200" kern="1200">
          <a:solidFill>
            <a:schemeClr val="tx1"/>
          </a:solidFill>
          <a:latin typeface="+mn-lt"/>
          <a:ea typeface="+mn-ea"/>
          <a:cs typeface="+mn-cs"/>
        </a:defRPr>
      </a:lvl5pPr>
      <a:lvl6pPr marL="1440000" indent="-358756" algn="l" defTabSz="1003960" rtl="0" eaLnBrk="1" latinLnBrk="0" hangingPunct="1">
        <a:spcBef>
          <a:spcPts val="600"/>
        </a:spcBef>
        <a:buClr>
          <a:schemeClr val="tx2"/>
        </a:buClr>
        <a:buFont typeface="Verdana" pitchFamily="34" charset="0"/>
        <a:buChar char="―"/>
        <a:tabLst>
          <a:tab pos="9348307" algn="r"/>
        </a:tabLst>
        <a:defRPr sz="1200" kern="1200">
          <a:solidFill>
            <a:schemeClr val="tx1"/>
          </a:solidFill>
          <a:latin typeface="+mn-lt"/>
          <a:ea typeface="+mn-ea"/>
          <a:cs typeface="+mn-cs"/>
        </a:defRPr>
      </a:lvl6pPr>
      <a:lvl7pPr marL="1441244" indent="0" algn="l" defTabSz="1003960" rtl="0" eaLnBrk="1" latinLnBrk="0" hangingPunct="1">
        <a:spcBef>
          <a:spcPts val="600"/>
        </a:spcBef>
        <a:buClr>
          <a:schemeClr val="tx2"/>
        </a:buClr>
        <a:buFont typeface="Verdana" pitchFamily="34" charset="0"/>
        <a:buNone/>
        <a:tabLst>
          <a:tab pos="9348307" algn="r"/>
        </a:tabLst>
        <a:defRPr sz="1200" kern="1200" baseline="0">
          <a:solidFill>
            <a:schemeClr val="tx1"/>
          </a:solidFill>
          <a:latin typeface="+mn-lt"/>
          <a:ea typeface="+mn-ea"/>
          <a:cs typeface="+mn-cs"/>
        </a:defRPr>
      </a:lvl7pPr>
      <a:lvl8pPr marL="2160000" indent="-360345" algn="l" defTabSz="1003960" rtl="0" eaLnBrk="1" latinLnBrk="0" hangingPunct="1">
        <a:spcBef>
          <a:spcPts val="600"/>
        </a:spcBef>
        <a:buClr>
          <a:schemeClr val="tx2"/>
        </a:buClr>
        <a:buFont typeface="Verdana" pitchFamily="34" charset="0"/>
        <a:buChar char="―"/>
        <a:tabLst>
          <a:tab pos="9348307" algn="r"/>
        </a:tabLst>
        <a:defRPr sz="1200" kern="1200" baseline="0">
          <a:solidFill>
            <a:schemeClr val="tx1"/>
          </a:solidFill>
          <a:latin typeface="+mn-lt"/>
          <a:ea typeface="+mn-ea"/>
          <a:cs typeface="+mn-cs"/>
        </a:defRPr>
      </a:lvl8pPr>
      <a:lvl9pPr marL="2520000" indent="-358756" algn="l" defTabSz="1003960" rtl="0" eaLnBrk="1" latinLnBrk="0" hangingPunct="1">
        <a:spcBef>
          <a:spcPts val="600"/>
        </a:spcBef>
        <a:buClr>
          <a:schemeClr val="tx2"/>
        </a:buClr>
        <a:buFont typeface="Verdana" pitchFamily="34" charset="0"/>
        <a:buChar char="―"/>
        <a:tabLst>
          <a:tab pos="9348307" algn="r"/>
        </a:tabLst>
        <a:defRPr sz="1200" kern="1200">
          <a:solidFill>
            <a:schemeClr val="tx1"/>
          </a:solidFill>
          <a:latin typeface="+mn-lt"/>
          <a:ea typeface="+mn-ea"/>
          <a:cs typeface="+mn-cs"/>
        </a:defRPr>
      </a:lvl9pPr>
    </p:bodyStyle>
    <p:otherStyle>
      <a:defPPr>
        <a:defRPr lang="en-US"/>
      </a:defPPr>
      <a:lvl1pPr marL="0" algn="l" defTabSz="1003960" rtl="0" eaLnBrk="1" latinLnBrk="0" hangingPunct="1">
        <a:defRPr sz="2000" kern="1200">
          <a:solidFill>
            <a:schemeClr val="tx1"/>
          </a:solidFill>
          <a:latin typeface="+mn-lt"/>
          <a:ea typeface="+mn-ea"/>
          <a:cs typeface="+mn-cs"/>
        </a:defRPr>
      </a:lvl1pPr>
      <a:lvl2pPr marL="501980" algn="l" defTabSz="1003960" rtl="0" eaLnBrk="1" latinLnBrk="0" hangingPunct="1">
        <a:defRPr sz="2000" kern="1200">
          <a:solidFill>
            <a:schemeClr val="tx1"/>
          </a:solidFill>
          <a:latin typeface="+mn-lt"/>
          <a:ea typeface="+mn-ea"/>
          <a:cs typeface="+mn-cs"/>
        </a:defRPr>
      </a:lvl2pPr>
      <a:lvl3pPr marL="1003960" algn="l" defTabSz="1003960" rtl="0" eaLnBrk="1" latinLnBrk="0" hangingPunct="1">
        <a:defRPr sz="2000" kern="1200">
          <a:solidFill>
            <a:schemeClr val="tx1"/>
          </a:solidFill>
          <a:latin typeface="+mn-lt"/>
          <a:ea typeface="+mn-ea"/>
          <a:cs typeface="+mn-cs"/>
        </a:defRPr>
      </a:lvl3pPr>
      <a:lvl4pPr marL="1505940" algn="l" defTabSz="1003960" rtl="0" eaLnBrk="1" latinLnBrk="0" hangingPunct="1">
        <a:defRPr sz="2000" kern="1200">
          <a:solidFill>
            <a:schemeClr val="tx1"/>
          </a:solidFill>
          <a:latin typeface="+mn-lt"/>
          <a:ea typeface="+mn-ea"/>
          <a:cs typeface="+mn-cs"/>
        </a:defRPr>
      </a:lvl4pPr>
      <a:lvl5pPr marL="2007919" algn="l" defTabSz="1003960" rtl="0" eaLnBrk="1" latinLnBrk="0" hangingPunct="1">
        <a:defRPr sz="2000" kern="1200">
          <a:solidFill>
            <a:schemeClr val="tx1"/>
          </a:solidFill>
          <a:latin typeface="+mn-lt"/>
          <a:ea typeface="+mn-ea"/>
          <a:cs typeface="+mn-cs"/>
        </a:defRPr>
      </a:lvl5pPr>
      <a:lvl6pPr marL="2509898" algn="l" defTabSz="1003960" rtl="0" eaLnBrk="1" latinLnBrk="0" hangingPunct="1">
        <a:defRPr sz="2000" kern="1200">
          <a:solidFill>
            <a:schemeClr val="tx1"/>
          </a:solidFill>
          <a:latin typeface="+mn-lt"/>
          <a:ea typeface="+mn-ea"/>
          <a:cs typeface="+mn-cs"/>
        </a:defRPr>
      </a:lvl6pPr>
      <a:lvl7pPr marL="3011879" algn="l" defTabSz="1003960" rtl="0" eaLnBrk="1" latinLnBrk="0" hangingPunct="1">
        <a:defRPr sz="2000" kern="1200">
          <a:solidFill>
            <a:schemeClr val="tx1"/>
          </a:solidFill>
          <a:latin typeface="+mn-lt"/>
          <a:ea typeface="+mn-ea"/>
          <a:cs typeface="+mn-cs"/>
        </a:defRPr>
      </a:lvl7pPr>
      <a:lvl8pPr marL="3513858" algn="l" defTabSz="1003960" rtl="0" eaLnBrk="1" latinLnBrk="0" hangingPunct="1">
        <a:defRPr sz="2000" kern="1200">
          <a:solidFill>
            <a:schemeClr val="tx1"/>
          </a:solidFill>
          <a:latin typeface="+mn-lt"/>
          <a:ea typeface="+mn-ea"/>
          <a:cs typeface="+mn-cs"/>
        </a:defRPr>
      </a:lvl8pPr>
      <a:lvl9pPr marL="4015838" algn="l" defTabSz="1003960"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502" userDrawn="1">
          <p15:clr>
            <a:srgbClr val="F26B43"/>
          </p15:clr>
        </p15:guide>
        <p15:guide id="2" orient="horz" pos="4366" userDrawn="1">
          <p15:clr>
            <a:srgbClr val="F26B43"/>
          </p15:clr>
        </p15:guide>
        <p15:guide id="3" orient="horz" pos="737" userDrawn="1">
          <p15:clr>
            <a:srgbClr val="F26B43"/>
          </p15:clr>
        </p15:guide>
        <p15:guide id="4" orient="horz" pos="556" userDrawn="1">
          <p15:clr>
            <a:srgbClr val="F26B43"/>
          </p15:clr>
        </p15:guide>
        <p15:guide id="5" pos="6112" userDrawn="1">
          <p15:clr>
            <a:srgbClr val="F26B43"/>
          </p15:clr>
        </p15:guide>
        <p15:guide id="6" pos="3209" userDrawn="1">
          <p15:clr>
            <a:srgbClr val="F26B43"/>
          </p15:clr>
        </p15:guide>
        <p15:guide id="7" pos="3119" userDrawn="1">
          <p15:clr>
            <a:srgbClr val="F26B43"/>
          </p15:clr>
        </p15:guide>
        <p15:guide id="8" pos="669" userDrawn="1">
          <p15:clr>
            <a:srgbClr val="F26B43"/>
          </p15:clr>
        </p15:guide>
        <p15:guide id="9" pos="2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png"/><Relationship Id="rId1" Type="http://schemas.openxmlformats.org/officeDocument/2006/relationships/slideLayout" Target="../slideLayouts/slideLayout2.xml"/><Relationship Id="rId5" Type="http://schemas.microsoft.com/office/2007/relationships/hdphoto" Target="../media/hdphoto4.wdp"/><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7.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p:cNvPr>
          <p:cNvSpPr/>
          <p:nvPr/>
        </p:nvSpPr>
        <p:spPr>
          <a:xfrm>
            <a:off x="977469" y="466135"/>
            <a:ext cx="8185582" cy="338554"/>
          </a:xfrm>
          <a:prstGeom prst="rect">
            <a:avLst/>
          </a:prstGeom>
        </p:spPr>
        <p:txBody>
          <a:bodyPr>
            <a:noAutofit/>
          </a:bodyPr>
          <a:lstStyle/>
          <a:p>
            <a:pPr algn="ctr" defTabSz="501640">
              <a:defRPr/>
            </a:pPr>
            <a:r>
              <a:rPr lang="en-GB" sz="1600" b="1" spc="300" dirty="0">
                <a:solidFill>
                  <a:schemeClr val="bg1"/>
                </a:solidFill>
              </a:rPr>
              <a:t>MOVILIZAR | EJECUTAR | TRANSFORMAR | </a:t>
            </a:r>
            <a:r>
              <a:rPr lang="en-GB" sz="1600" b="1" spc="300" dirty="0" smtClean="0">
                <a:solidFill>
                  <a:schemeClr val="bg1"/>
                </a:solidFill>
              </a:rPr>
              <a:t>AGILIDAD</a:t>
            </a:r>
            <a:endParaRPr lang="en-GB" sz="1600" b="1" spc="300" dirty="0">
              <a:solidFill>
                <a:schemeClr val="bg1"/>
              </a:solidFill>
            </a:endParaRPr>
          </a:p>
        </p:txBody>
      </p:sp>
      <p:sp>
        <p:nvSpPr>
          <p:cNvPr id="16392" name="Rectangle 16"/>
          <p:cNvSpPr>
            <a:spLocks noChangeArrowheads="1"/>
          </p:cNvSpPr>
          <p:nvPr/>
        </p:nvSpPr>
        <p:spPr bwMode="gray">
          <a:xfrm>
            <a:off x="1522185" y="5651805"/>
            <a:ext cx="3840064" cy="116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57263">
              <a:lnSpc>
                <a:spcPct val="105000"/>
              </a:lnSpc>
              <a:spcBef>
                <a:spcPct val="125000"/>
              </a:spcBef>
              <a:buClr>
                <a:schemeClr val="tx1"/>
              </a:buClr>
              <a:tabLst>
                <a:tab pos="9326563" algn="r"/>
              </a:tabLst>
              <a:defRPr sz="1200" b="1">
                <a:solidFill>
                  <a:schemeClr val="tx2"/>
                </a:solidFill>
                <a:latin typeface="Verdana" panose="020B0604030504040204" pitchFamily="34" charset="0"/>
              </a:defRPr>
            </a:lvl1pPr>
            <a:lvl2pPr marL="779463" indent="-300038" defTabSz="957263">
              <a:lnSpc>
                <a:spcPct val="105000"/>
              </a:lnSpc>
              <a:spcBef>
                <a:spcPct val="50000"/>
              </a:spcBef>
              <a:buClr>
                <a:schemeClr val="accent1"/>
              </a:buClr>
              <a:buFont typeface="Garamond" panose="02020404030301010803" pitchFamily="18" charset="0"/>
              <a:tabLst>
                <a:tab pos="9326563" algn="r"/>
              </a:tabLst>
              <a:defRPr sz="1200">
                <a:solidFill>
                  <a:schemeClr val="tx1"/>
                </a:solidFill>
                <a:latin typeface="Verdana" panose="020B0604030504040204" pitchFamily="34" charset="0"/>
              </a:defRPr>
            </a:lvl2pPr>
            <a:lvl3pPr marL="1198563" indent="-239713" defTabSz="957263">
              <a:lnSpc>
                <a:spcPct val="105000"/>
              </a:lnSpc>
              <a:spcBef>
                <a:spcPct val="50000"/>
              </a:spcBef>
              <a:buClr>
                <a:schemeClr val="accent1"/>
              </a:buClr>
              <a:buFont typeface="Garamond" panose="02020404030301010803" pitchFamily="18" charset="0"/>
              <a:buChar char="►"/>
              <a:tabLst>
                <a:tab pos="9326563" algn="r"/>
              </a:tabLst>
              <a:defRPr sz="1200">
                <a:solidFill>
                  <a:schemeClr val="tx1"/>
                </a:solidFill>
                <a:latin typeface="Verdana" panose="020B0604030504040204" pitchFamily="34" charset="0"/>
              </a:defRPr>
            </a:lvl3pPr>
            <a:lvl4pPr marL="1676400" indent="-238125" defTabSz="957263">
              <a:lnSpc>
                <a:spcPct val="105000"/>
              </a:lnSpc>
              <a:spcBef>
                <a:spcPct val="20000"/>
              </a:spcBef>
              <a:buClr>
                <a:schemeClr val="accent1"/>
              </a:buClr>
              <a:buFont typeface="Verdana" panose="020B0604030504040204" pitchFamily="34" charset="0"/>
              <a:buChar char="―"/>
              <a:tabLst>
                <a:tab pos="9326563" algn="r"/>
              </a:tabLst>
              <a:defRPr sz="1200">
                <a:solidFill>
                  <a:schemeClr val="tx1"/>
                </a:solidFill>
                <a:latin typeface="Verdana" panose="020B0604030504040204" pitchFamily="34" charset="0"/>
              </a:defRPr>
            </a:lvl4pPr>
            <a:lvl5pPr marL="2155825" indent="-239713" defTabSz="957263">
              <a:lnSpc>
                <a:spcPct val="105000"/>
              </a:lnSpc>
              <a:spcBef>
                <a:spcPct val="20000"/>
              </a:spcBef>
              <a:buClr>
                <a:schemeClr val="accent1"/>
              </a:buClr>
              <a:buFont typeface="Verdana" panose="020B0604030504040204" pitchFamily="34" charset="0"/>
              <a:buChar char="―"/>
              <a:tabLst>
                <a:tab pos="9326563" algn="r"/>
              </a:tabLst>
              <a:defRPr sz="1200">
                <a:solidFill>
                  <a:schemeClr val="tx1"/>
                </a:solidFill>
                <a:latin typeface="Verdana" panose="020B0604030504040204" pitchFamily="34" charset="0"/>
              </a:defRPr>
            </a:lvl5pPr>
            <a:lvl6pPr marL="2613025" indent="-239713" defTabSz="957263" eaLnBrk="0" fontAlgn="base" hangingPunct="0">
              <a:lnSpc>
                <a:spcPct val="105000"/>
              </a:lnSpc>
              <a:spcBef>
                <a:spcPct val="20000"/>
              </a:spcBef>
              <a:spcAft>
                <a:spcPct val="0"/>
              </a:spcAft>
              <a:buClr>
                <a:schemeClr val="accent1"/>
              </a:buClr>
              <a:buFont typeface="Verdana" panose="020B0604030504040204" pitchFamily="34" charset="0"/>
              <a:buChar char="―"/>
              <a:tabLst>
                <a:tab pos="9326563" algn="r"/>
              </a:tabLst>
              <a:defRPr sz="1200">
                <a:solidFill>
                  <a:schemeClr val="tx1"/>
                </a:solidFill>
                <a:latin typeface="Verdana" panose="020B0604030504040204" pitchFamily="34" charset="0"/>
              </a:defRPr>
            </a:lvl6pPr>
            <a:lvl7pPr marL="3070225" indent="-239713" defTabSz="957263" eaLnBrk="0" fontAlgn="base" hangingPunct="0">
              <a:lnSpc>
                <a:spcPct val="105000"/>
              </a:lnSpc>
              <a:spcBef>
                <a:spcPct val="20000"/>
              </a:spcBef>
              <a:spcAft>
                <a:spcPct val="0"/>
              </a:spcAft>
              <a:buClr>
                <a:schemeClr val="accent1"/>
              </a:buClr>
              <a:buFont typeface="Verdana" panose="020B0604030504040204" pitchFamily="34" charset="0"/>
              <a:buChar char="―"/>
              <a:tabLst>
                <a:tab pos="9326563" algn="r"/>
              </a:tabLst>
              <a:defRPr sz="1200">
                <a:solidFill>
                  <a:schemeClr val="tx1"/>
                </a:solidFill>
                <a:latin typeface="Verdana" panose="020B0604030504040204" pitchFamily="34" charset="0"/>
              </a:defRPr>
            </a:lvl7pPr>
            <a:lvl8pPr marL="3527425" indent="-239713" defTabSz="957263" eaLnBrk="0" fontAlgn="base" hangingPunct="0">
              <a:lnSpc>
                <a:spcPct val="105000"/>
              </a:lnSpc>
              <a:spcBef>
                <a:spcPct val="20000"/>
              </a:spcBef>
              <a:spcAft>
                <a:spcPct val="0"/>
              </a:spcAft>
              <a:buClr>
                <a:schemeClr val="accent1"/>
              </a:buClr>
              <a:buFont typeface="Verdana" panose="020B0604030504040204" pitchFamily="34" charset="0"/>
              <a:buChar char="―"/>
              <a:tabLst>
                <a:tab pos="9326563" algn="r"/>
              </a:tabLst>
              <a:defRPr sz="1200">
                <a:solidFill>
                  <a:schemeClr val="tx1"/>
                </a:solidFill>
                <a:latin typeface="Verdana" panose="020B0604030504040204" pitchFamily="34" charset="0"/>
              </a:defRPr>
            </a:lvl8pPr>
            <a:lvl9pPr marL="3984625" indent="-239713" defTabSz="957263" eaLnBrk="0" fontAlgn="base" hangingPunct="0">
              <a:lnSpc>
                <a:spcPct val="105000"/>
              </a:lnSpc>
              <a:spcBef>
                <a:spcPct val="20000"/>
              </a:spcBef>
              <a:spcAft>
                <a:spcPct val="0"/>
              </a:spcAft>
              <a:buClr>
                <a:schemeClr val="accent1"/>
              </a:buClr>
              <a:buFont typeface="Verdana" panose="020B0604030504040204" pitchFamily="34" charset="0"/>
              <a:buChar char="―"/>
              <a:tabLst>
                <a:tab pos="9326563" algn="r"/>
              </a:tabLst>
              <a:defRPr sz="1200">
                <a:solidFill>
                  <a:schemeClr val="tx1"/>
                </a:solidFill>
                <a:latin typeface="Verdana" panose="020B0604030504040204" pitchFamily="34" charset="0"/>
              </a:defRPr>
            </a:lvl9pPr>
          </a:lstStyle>
          <a:p>
            <a:pPr>
              <a:spcBef>
                <a:spcPct val="20000"/>
              </a:spcBef>
              <a:buClrTx/>
            </a:pPr>
            <a:r>
              <a:rPr lang="es-ES_tradnl" altLang="en-US" sz="1398" dirty="0" smtClean="0">
                <a:solidFill>
                  <a:srgbClr val="FFFFFF"/>
                </a:solidFill>
                <a:cs typeface="Arial" panose="020B0604020202020204" pitchFamily="34" charset="0"/>
              </a:rPr>
              <a:t>La Empleabilidad en los graduados de otras ciencias sociales y humanidades</a:t>
            </a:r>
            <a:endParaRPr lang="es-ES_tradnl" altLang="en-US" sz="1498" dirty="0" smtClean="0">
              <a:solidFill>
                <a:srgbClr val="FFFFFF"/>
              </a:solidFill>
              <a:cs typeface="Arial" panose="020B0604020202020204" pitchFamily="34" charset="0"/>
            </a:endParaRPr>
          </a:p>
          <a:p>
            <a:pPr>
              <a:spcBef>
                <a:spcPct val="20000"/>
              </a:spcBef>
              <a:buClrTx/>
            </a:pPr>
            <a:endParaRPr lang="es-ES_tradnl" altLang="en-US" sz="1498" dirty="0" smtClean="0">
              <a:solidFill>
                <a:srgbClr val="FFFFFF"/>
              </a:solidFill>
              <a:cs typeface="Arial" panose="020B0604020202020204" pitchFamily="34" charset="0"/>
            </a:endParaRPr>
          </a:p>
          <a:p>
            <a:pPr>
              <a:spcBef>
                <a:spcPct val="20000"/>
              </a:spcBef>
              <a:buClrTx/>
            </a:pPr>
            <a:r>
              <a:rPr lang="es-ES_tradnl" altLang="en-US" sz="1198" b="0" dirty="0">
                <a:solidFill>
                  <a:srgbClr val="FFFFFF"/>
                </a:solidFill>
                <a:cs typeface="Arial" panose="020B0604020202020204" pitchFamily="34" charset="0"/>
              </a:rPr>
              <a:t>m</a:t>
            </a:r>
            <a:r>
              <a:rPr lang="es-ES_tradnl" altLang="en-US" sz="1198" b="0" dirty="0" smtClean="0">
                <a:solidFill>
                  <a:srgbClr val="FFFFFF"/>
                </a:solidFill>
                <a:cs typeface="Arial" panose="020B0604020202020204" pitchFamily="34" charset="0"/>
              </a:rPr>
              <a:t>ayo 2018</a:t>
            </a:r>
          </a:p>
          <a:p>
            <a:pPr>
              <a:spcBef>
                <a:spcPct val="20000"/>
              </a:spcBef>
              <a:buClrTx/>
            </a:pPr>
            <a:endParaRPr lang="es-ES_tradnl" altLang="en-US" sz="998" b="0" dirty="0">
              <a:solidFill>
                <a:srgbClr val="FFFFFF"/>
              </a:solidFill>
              <a:cs typeface="Arial" panose="020B0604020202020204" pitchFamily="34" charset="0"/>
            </a:endParaRPr>
          </a:p>
        </p:txBody>
      </p:sp>
    </p:spTree>
    <p:extLst>
      <p:ext uri="{BB962C8B-B14F-4D97-AF65-F5344CB8AC3E}">
        <p14:creationId xmlns:p14="http://schemas.microsoft.com/office/powerpoint/2010/main" val="1166914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8620" y="1169989"/>
            <a:ext cx="895739" cy="1610533"/>
          </a:xfrm>
          <a:prstGeom prst="rect">
            <a:avLst/>
          </a:prstGeom>
          <a:solidFill>
            <a:srgbClr val="A4C2C0"/>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9" name="Rectangle 8"/>
          <p:cNvSpPr/>
          <p:nvPr/>
        </p:nvSpPr>
        <p:spPr>
          <a:xfrm>
            <a:off x="1054359" y="1169989"/>
            <a:ext cx="8648442" cy="1610533"/>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2" name="Title 1"/>
          <p:cNvSpPr>
            <a:spLocks noGrp="1"/>
          </p:cNvSpPr>
          <p:nvPr>
            <p:ph type="title"/>
          </p:nvPr>
        </p:nvSpPr>
        <p:spPr/>
        <p:txBody>
          <a:bodyPr/>
          <a:lstStyle/>
          <a:p>
            <a:r>
              <a:rPr lang="es-ES_tradnl" dirty="0" smtClean="0"/>
              <a:t>Posibles acciones de mejora </a:t>
            </a:r>
            <a:r>
              <a:rPr lang="en-GB" dirty="0" smtClean="0"/>
              <a:t>(continuación)</a:t>
            </a:r>
            <a:endParaRPr lang="en-US" dirty="0"/>
          </a:p>
        </p:txBody>
      </p:sp>
      <p:sp>
        <p:nvSpPr>
          <p:cNvPr id="3" name="Content Placeholder 2"/>
          <p:cNvSpPr>
            <a:spLocks noGrp="1"/>
          </p:cNvSpPr>
          <p:nvPr>
            <p:ph idx="1"/>
          </p:nvPr>
        </p:nvSpPr>
        <p:spPr>
          <a:xfrm>
            <a:off x="1212849" y="1009649"/>
            <a:ext cx="8489951" cy="6124575"/>
          </a:xfrm>
        </p:spPr>
        <p:txBody>
          <a:bodyPr>
            <a:normAutofit/>
          </a:bodyPr>
          <a:lstStyle/>
          <a:p>
            <a:pPr eaLnBrk="0" fontAlgn="base" hangingPunct="0">
              <a:lnSpc>
                <a:spcPct val="100000"/>
              </a:lnSpc>
              <a:spcBef>
                <a:spcPct val="0"/>
              </a:spcBef>
              <a:spcAft>
                <a:spcPct val="0"/>
              </a:spcAft>
              <a:tabLst>
                <a:tab pos="829335" algn="l"/>
              </a:tabLst>
            </a:pPr>
            <a:endParaRPr lang="es-ES" altLang="en-US" sz="1100" b="0" u="sng" dirty="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eaLnBrk="0" fontAlgn="base" hangingPunct="0">
              <a:lnSpc>
                <a:spcPct val="100000"/>
              </a:lnSpc>
              <a:spcBef>
                <a:spcPct val="0"/>
              </a:spcBef>
              <a:spcAft>
                <a:spcPct val="0"/>
              </a:spcAft>
              <a:tabLst>
                <a:tab pos="414668" algn="l"/>
              </a:tabLst>
            </a:pPr>
            <a:r>
              <a:rPr lang="es-ES" altLang="en-US" sz="1300" dirty="0">
                <a:solidFill>
                  <a:schemeClr val="tx1">
                    <a:lumMod val="65000"/>
                    <a:lumOff val="35000"/>
                  </a:schemeClr>
                </a:solidFill>
              </a:rPr>
              <a:t>Resolución de problemas y formación práctica. </a:t>
            </a:r>
            <a:r>
              <a:rPr lang="es-ES" altLang="en-US" sz="1300" b="0" dirty="0">
                <a:solidFill>
                  <a:schemeClr val="tx1">
                    <a:lumMod val="65000"/>
                    <a:lumOff val="35000"/>
                  </a:schemeClr>
                </a:solidFill>
              </a:rPr>
              <a:t>Las competencias en resolución de problemas y formación práctica son las que presentan un mayor margen de mejora desde la perspectiva de los empleadores.</a:t>
            </a:r>
            <a:endParaRPr lang="en-US" altLang="en-US" sz="1300" b="0" dirty="0">
              <a:solidFill>
                <a:schemeClr val="tx1">
                  <a:lumMod val="65000"/>
                  <a:lumOff val="35000"/>
                </a:schemeClr>
              </a:solidFill>
            </a:endParaRPr>
          </a:p>
          <a:p>
            <a:pPr marL="171450" indent="-171450" eaLnBrk="0" fontAlgn="base" hangingPunct="0">
              <a:lnSpc>
                <a:spcPct val="100000"/>
              </a:lnSpc>
              <a:spcBef>
                <a:spcPct val="0"/>
              </a:spcBef>
              <a:spcAft>
                <a:spcPct val="0"/>
              </a:spcAft>
              <a:buFont typeface="Wingdings" panose="05000000000000000000" pitchFamily="2" charset="2"/>
              <a:buChar char="q"/>
              <a:tabLst>
                <a:tab pos="829335" algn="l"/>
              </a:tabLst>
            </a:pPr>
            <a:endParaRPr lang="es-ES" altLang="en-US" dirty="0" smtClean="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marL="645750" lvl="2" indent="-285750" eaLnBrk="0" fontAlgn="base" hangingPunct="0">
              <a:lnSpc>
                <a:spcPct val="100000"/>
              </a:lnSpc>
              <a:spcBef>
                <a:spcPct val="0"/>
              </a:spcBef>
              <a:spcAft>
                <a:spcPct val="0"/>
              </a:spcAft>
              <a:buFont typeface="Wingdings 3" panose="05040102010807070707" pitchFamily="18" charset="2"/>
              <a:buChar char=""/>
              <a:tabLst>
                <a:tab pos="414668" algn="l"/>
              </a:tabLst>
            </a:pPr>
            <a:r>
              <a:rPr lang="es-ES" altLang="en-US" sz="1300" b="0" dirty="0" smtClean="0">
                <a:solidFill>
                  <a:schemeClr val="tx1">
                    <a:lumMod val="65000"/>
                    <a:lumOff val="35000"/>
                  </a:schemeClr>
                </a:solidFill>
              </a:rPr>
              <a:t>Acciones de mejora:</a:t>
            </a:r>
            <a:endParaRPr lang="es-ES" altLang="en-US" sz="1300" b="0" dirty="0">
              <a:solidFill>
                <a:schemeClr val="tx1">
                  <a:lumMod val="65000"/>
                  <a:lumOff val="35000"/>
                </a:schemeClr>
              </a:solidFill>
            </a:endParaRPr>
          </a:p>
          <a:p>
            <a:pPr marL="171450" lvl="1" indent="-171450" eaLnBrk="0" fontAlgn="base" hangingPunct="0">
              <a:lnSpc>
                <a:spcPct val="100000"/>
              </a:lnSpc>
              <a:spcBef>
                <a:spcPct val="0"/>
              </a:spcBef>
              <a:spcAft>
                <a:spcPct val="0"/>
              </a:spcAft>
              <a:buFont typeface="Wingdings" panose="05000000000000000000" pitchFamily="2" charset="2"/>
              <a:buChar char="q"/>
              <a:tabLst>
                <a:tab pos="829335" algn="l"/>
              </a:tabLst>
            </a:pPr>
            <a:endParaRPr lang="es-ES" altLang="en-US" dirty="0" smtClean="0">
              <a:solidFill>
                <a:schemeClr val="tx1">
                  <a:lumMod val="65000"/>
                  <a:lumOff val="35000"/>
                </a:schemeClr>
              </a:solidFill>
              <a:latin typeface="Times New Roman" panose="02020603050405020304" pitchFamily="18" charset="0"/>
              <a:ea typeface="Lucida Console" panose="020B0609040504020204" pitchFamily="49" charset="0"/>
              <a:cs typeface="Times New Roman" panose="02020603050405020304" pitchFamily="18" charset="0"/>
            </a:endParaRP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Introducir prácticas obligatorias en empresas o instituciones en el plan de estudios.</a:t>
            </a: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Incorporación de cursos con una vertiente más práctica y orientada al mercado de trabajo.</a:t>
            </a:r>
            <a:endParaRPr lang="en-US" altLang="en-US" dirty="0">
              <a:solidFill>
                <a:schemeClr val="tx1">
                  <a:lumMod val="65000"/>
                  <a:lumOff val="35000"/>
                </a:schemeClr>
              </a:solidFill>
              <a:ea typeface="Verdana" panose="020B0604030504040204" pitchFamily="34" charset="0"/>
              <a:cs typeface="Verdana" panose="020B0604030504040204" pitchFamily="34" charset="0"/>
            </a:endParaRPr>
          </a:p>
          <a:p>
            <a:pPr eaLnBrk="0" fontAlgn="base" hangingPunct="0">
              <a:lnSpc>
                <a:spcPct val="100000"/>
              </a:lnSpc>
              <a:spcBef>
                <a:spcPct val="0"/>
              </a:spcBef>
              <a:spcAft>
                <a:spcPct val="0"/>
              </a:spcAft>
              <a:buFontTx/>
              <a:buChar char="•"/>
              <a:tabLst>
                <a:tab pos="829335" algn="l"/>
              </a:tabLst>
            </a:pPr>
            <a:endParaRPr lang="es-ES" altLang="en-US" sz="1100" u="sng" dirty="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eaLnBrk="0" fontAlgn="base" hangingPunct="0">
              <a:lnSpc>
                <a:spcPct val="100000"/>
              </a:lnSpc>
              <a:spcBef>
                <a:spcPct val="0"/>
              </a:spcBef>
              <a:spcAft>
                <a:spcPct val="0"/>
              </a:spcAft>
              <a:tabLst>
                <a:tab pos="414668" algn="l"/>
              </a:tabLst>
            </a:pPr>
            <a:r>
              <a:rPr lang="es-ES" altLang="en-US" sz="1300" dirty="0">
                <a:solidFill>
                  <a:schemeClr val="tx1">
                    <a:lumMod val="65000"/>
                    <a:lumOff val="35000"/>
                  </a:schemeClr>
                </a:solidFill>
              </a:rPr>
              <a:t>Formación en la empresa o institución en conocimientos básicos. </a:t>
            </a:r>
            <a:r>
              <a:rPr lang="es-ES" altLang="en-US" sz="1300" b="0" dirty="0">
                <a:solidFill>
                  <a:schemeClr val="tx1">
                    <a:lumMod val="65000"/>
                    <a:lumOff val="35000"/>
                  </a:schemeClr>
                </a:solidFill>
              </a:rPr>
              <a:t>Uno de los motivos declarados para realizar formación en la empresa o institución es suplir deficiencias de la formación universitaria en aquello que los empleadores consideran conocimientos básicos que la universidad tendría que proporcionar a los estudiantes.</a:t>
            </a:r>
            <a:endParaRPr lang="en-US" altLang="en-US" sz="1300" b="0" dirty="0">
              <a:solidFill>
                <a:schemeClr val="tx1">
                  <a:lumMod val="65000"/>
                  <a:lumOff val="35000"/>
                </a:schemeClr>
              </a:solidFill>
            </a:endParaRPr>
          </a:p>
          <a:p>
            <a:pPr marL="171450" indent="-171450" eaLnBrk="0" fontAlgn="base" hangingPunct="0">
              <a:lnSpc>
                <a:spcPct val="100000"/>
              </a:lnSpc>
              <a:spcBef>
                <a:spcPct val="0"/>
              </a:spcBef>
              <a:spcAft>
                <a:spcPct val="0"/>
              </a:spcAft>
              <a:buFont typeface="Wingdings" panose="05000000000000000000" pitchFamily="2" charset="2"/>
              <a:buChar char="q"/>
              <a:tabLst>
                <a:tab pos="829335" algn="l"/>
              </a:tabLst>
            </a:pPr>
            <a:endParaRPr lang="es-ES" altLang="en-US" dirty="0" smtClean="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marL="645750" lvl="2" indent="-285750" eaLnBrk="0" fontAlgn="base" hangingPunct="0">
              <a:lnSpc>
                <a:spcPct val="100000"/>
              </a:lnSpc>
              <a:spcBef>
                <a:spcPct val="0"/>
              </a:spcBef>
              <a:spcAft>
                <a:spcPct val="0"/>
              </a:spcAft>
              <a:buFont typeface="Wingdings 3" panose="05040102010807070707" pitchFamily="18" charset="2"/>
              <a:buChar char=""/>
              <a:tabLst>
                <a:tab pos="414668" algn="l"/>
              </a:tabLst>
            </a:pPr>
            <a:r>
              <a:rPr lang="es-ES" altLang="en-US" sz="1300" b="0" dirty="0">
                <a:solidFill>
                  <a:schemeClr val="tx1">
                    <a:lumMod val="65000"/>
                    <a:lumOff val="35000"/>
                  </a:schemeClr>
                </a:solidFill>
              </a:rPr>
              <a:t>Acción de </a:t>
            </a:r>
            <a:r>
              <a:rPr lang="es-ES" altLang="en-US" sz="1300" b="0" dirty="0" smtClean="0">
                <a:solidFill>
                  <a:schemeClr val="tx1">
                    <a:lumMod val="65000"/>
                    <a:lumOff val="35000"/>
                  </a:schemeClr>
                </a:solidFill>
              </a:rPr>
              <a:t>mejora:</a:t>
            </a:r>
          </a:p>
          <a:p>
            <a:pPr lvl="1" eaLnBrk="0" fontAlgn="base" hangingPunct="0">
              <a:lnSpc>
                <a:spcPct val="100000"/>
              </a:lnSpc>
              <a:spcBef>
                <a:spcPct val="0"/>
              </a:spcBef>
              <a:spcAft>
                <a:spcPct val="0"/>
              </a:spcAft>
              <a:tabLst>
                <a:tab pos="414668" algn="l"/>
              </a:tabLst>
            </a:pPr>
            <a:endParaRPr lang="es-ES" altLang="en-US" sz="1300" b="0" dirty="0">
              <a:solidFill>
                <a:schemeClr val="tx1">
                  <a:lumMod val="65000"/>
                  <a:lumOff val="35000"/>
                </a:schemeClr>
              </a:solidFill>
            </a:endParaRP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Incluir a los empleadores en la elaboración de los planes de estudios para incorporar su visión sobre los conocimientos básicos que los estudiantes deberían alcanzar al finalizar los estudios </a:t>
            </a:r>
            <a:r>
              <a:rPr lang="es-ES" altLang="en-US" dirty="0" smtClean="0">
                <a:solidFill>
                  <a:schemeClr val="tx1">
                    <a:lumMod val="65000"/>
                    <a:lumOff val="35000"/>
                  </a:schemeClr>
                </a:solidFill>
                <a:ea typeface="Verdana" panose="020B0604030504040204" pitchFamily="34" charset="0"/>
                <a:cs typeface="Verdana" panose="020B0604030504040204" pitchFamily="34" charset="0"/>
              </a:rPr>
              <a:t>universitarios.</a:t>
            </a: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endParaRPr lang="es-ES" dirty="0">
              <a:solidFill>
                <a:schemeClr val="tx1">
                  <a:lumMod val="65000"/>
                  <a:lumOff val="35000"/>
                </a:schemeClr>
              </a:solidFill>
              <a:ea typeface="Verdana" panose="020B0604030504040204" pitchFamily="34" charset="0"/>
              <a:cs typeface="Verdana" panose="020B0604030504040204" pitchFamily="34" charset="0"/>
            </a:endParaRPr>
          </a:p>
          <a:p>
            <a:pPr marL="171450" lvl="1" indent="-171450" eaLnBrk="0" fontAlgn="base" hangingPunct="0">
              <a:lnSpc>
                <a:spcPct val="100000"/>
              </a:lnSpc>
              <a:spcBef>
                <a:spcPct val="0"/>
              </a:spcBef>
              <a:spcAft>
                <a:spcPct val="0"/>
              </a:spcAft>
              <a:buFont typeface="Garamond" panose="02020404030301010803" pitchFamily="18" charset="0"/>
              <a:buChar char="–"/>
              <a:tabLst>
                <a:tab pos="414668" algn="l"/>
              </a:tabLst>
            </a:pPr>
            <a:endParaRPr lang="es-ES" dirty="0" smtClean="0">
              <a:solidFill>
                <a:schemeClr val="tx1">
                  <a:lumMod val="65000"/>
                  <a:lumOff val="35000"/>
                </a:schemeClr>
              </a:solidFill>
              <a:ea typeface="Verdana" panose="020B0604030504040204" pitchFamily="34" charset="0"/>
              <a:cs typeface="Verdana" panose="020B0604030504040204" pitchFamily="34" charset="0"/>
            </a:endParaRPr>
          </a:p>
          <a:p>
            <a:pPr lvl="1" eaLnBrk="0" fontAlgn="base" hangingPunct="0">
              <a:lnSpc>
                <a:spcPct val="100000"/>
              </a:lnSpc>
              <a:spcBef>
                <a:spcPct val="0"/>
              </a:spcBef>
              <a:spcAft>
                <a:spcPct val="0"/>
              </a:spcAft>
              <a:tabLst>
                <a:tab pos="414668" algn="l"/>
              </a:tabLst>
            </a:pPr>
            <a:r>
              <a:rPr lang="es-ES" sz="1300" b="1" dirty="0" smtClean="0">
                <a:solidFill>
                  <a:schemeClr val="tx1">
                    <a:lumMod val="65000"/>
                    <a:lumOff val="35000"/>
                  </a:schemeClr>
                </a:solidFill>
                <a:ea typeface="Verdana" panose="020B0604030504040204" pitchFamily="34" charset="0"/>
                <a:cs typeface="Verdana" panose="020B0604030504040204" pitchFamily="34" charset="0"/>
              </a:rPr>
              <a:t>Ideas para mejoras de empleabilidad en UCL. </a:t>
            </a:r>
            <a:r>
              <a:rPr lang="es-ES" sz="1300" dirty="0" smtClean="0">
                <a:solidFill>
                  <a:schemeClr val="tx1">
                    <a:lumMod val="65000"/>
                    <a:lumOff val="35000"/>
                  </a:schemeClr>
                </a:solidFill>
                <a:ea typeface="Verdana" panose="020B0604030504040204" pitchFamily="34" charset="0"/>
                <a:cs typeface="Verdana" panose="020B0604030504040204" pitchFamily="34" charset="0"/>
              </a:rPr>
              <a:t>La combinación de falta de tejido empresarial con carácter empleador preferente y la formación especifica de empresa son una “tormenta “perfecta.</a:t>
            </a:r>
          </a:p>
          <a:p>
            <a:pPr lvl="1" eaLnBrk="0" fontAlgn="base" hangingPunct="0">
              <a:lnSpc>
                <a:spcPct val="100000"/>
              </a:lnSpc>
              <a:spcBef>
                <a:spcPct val="0"/>
              </a:spcBef>
              <a:spcAft>
                <a:spcPct val="0"/>
              </a:spcAft>
              <a:tabLst>
                <a:tab pos="414668" algn="l"/>
              </a:tabLst>
            </a:pPr>
            <a:endParaRPr lang="es-ES" sz="1300" dirty="0" smtClean="0">
              <a:solidFill>
                <a:schemeClr val="tx1">
                  <a:lumMod val="65000"/>
                  <a:lumOff val="35000"/>
                </a:schemeClr>
              </a:solidFill>
              <a:ea typeface="Verdana" panose="020B0604030504040204" pitchFamily="34" charset="0"/>
              <a:cs typeface="Verdana" panose="020B0604030504040204" pitchFamily="34" charset="0"/>
            </a:endParaRPr>
          </a:p>
          <a:p>
            <a:pPr lvl="1" eaLnBrk="0" fontAlgn="base" hangingPunct="0">
              <a:lnSpc>
                <a:spcPct val="100000"/>
              </a:lnSpc>
              <a:spcBef>
                <a:spcPct val="0"/>
              </a:spcBef>
              <a:spcAft>
                <a:spcPct val="0"/>
              </a:spcAft>
              <a:tabLst>
                <a:tab pos="414668" algn="l"/>
              </a:tabLst>
            </a:pPr>
            <a:r>
              <a:rPr lang="es-ES" altLang="en-US" sz="1300" dirty="0">
                <a:solidFill>
                  <a:schemeClr val="tx1">
                    <a:lumMod val="65000"/>
                    <a:lumOff val="35000"/>
                  </a:schemeClr>
                </a:solidFill>
              </a:rPr>
              <a:t>Acción de mejora</a:t>
            </a:r>
            <a:r>
              <a:rPr lang="es-ES" altLang="en-US" sz="1300" dirty="0" smtClean="0">
                <a:solidFill>
                  <a:schemeClr val="tx1">
                    <a:lumMod val="65000"/>
                    <a:lumOff val="35000"/>
                  </a:schemeClr>
                </a:solidFill>
              </a:rPr>
              <a:t>:</a:t>
            </a:r>
          </a:p>
          <a:p>
            <a:pPr lvl="1" eaLnBrk="0" fontAlgn="base" hangingPunct="0">
              <a:lnSpc>
                <a:spcPct val="100000"/>
              </a:lnSpc>
              <a:spcBef>
                <a:spcPct val="0"/>
              </a:spcBef>
              <a:spcAft>
                <a:spcPct val="0"/>
              </a:spcAft>
              <a:tabLst>
                <a:tab pos="414668" algn="l"/>
              </a:tabLst>
            </a:pPr>
            <a:endParaRPr lang="es-ES" altLang="en-US" sz="1300" dirty="0">
              <a:solidFill>
                <a:schemeClr val="tx1">
                  <a:lumMod val="65000"/>
                  <a:lumOff val="35000"/>
                </a:schemeClr>
              </a:solidFill>
            </a:endParaRPr>
          </a:p>
          <a:p>
            <a:pPr lvl="4" indent="0" eaLnBrk="0" fontAlgn="base" hangingPunct="0">
              <a:lnSpc>
                <a:spcPct val="100000"/>
              </a:lnSpc>
              <a:spcBef>
                <a:spcPct val="0"/>
              </a:spcBef>
              <a:spcAft>
                <a:spcPct val="0"/>
              </a:spcAft>
              <a:buNone/>
              <a:tabLst>
                <a:tab pos="414668" algn="l"/>
              </a:tabLst>
            </a:pPr>
            <a:r>
              <a:rPr lang="es-ES" altLang="en-US" sz="1300" dirty="0" smtClean="0">
                <a:solidFill>
                  <a:schemeClr val="tx1">
                    <a:lumMod val="65000"/>
                    <a:lumOff val="35000"/>
                  </a:schemeClr>
                </a:solidFill>
              </a:rPr>
              <a:t>Servicios de orientación transparentes</a:t>
            </a:r>
          </a:p>
          <a:p>
            <a:pPr lvl="4" indent="0" eaLnBrk="0" fontAlgn="base" hangingPunct="0">
              <a:lnSpc>
                <a:spcPct val="100000"/>
              </a:lnSpc>
              <a:spcBef>
                <a:spcPct val="0"/>
              </a:spcBef>
              <a:spcAft>
                <a:spcPct val="0"/>
              </a:spcAft>
              <a:buNone/>
              <a:tabLst>
                <a:tab pos="414668" algn="l"/>
              </a:tabLst>
            </a:pPr>
            <a:r>
              <a:rPr lang="es-ES" altLang="en-US" sz="1300" dirty="0" smtClean="0">
                <a:solidFill>
                  <a:schemeClr val="tx1">
                    <a:lumMod val="65000"/>
                    <a:lumOff val="35000"/>
                  </a:schemeClr>
                </a:solidFill>
              </a:rPr>
              <a:t>Planes de formación y ayuda institucional al emprendimiento en Humanidades.</a:t>
            </a:r>
          </a:p>
          <a:p>
            <a:pPr lvl="4" indent="0" eaLnBrk="0" fontAlgn="base" hangingPunct="0">
              <a:lnSpc>
                <a:spcPct val="100000"/>
              </a:lnSpc>
              <a:spcBef>
                <a:spcPct val="0"/>
              </a:spcBef>
              <a:spcAft>
                <a:spcPct val="0"/>
              </a:spcAft>
              <a:buNone/>
              <a:tabLst>
                <a:tab pos="414668" algn="l"/>
              </a:tabLst>
            </a:pPr>
            <a:r>
              <a:rPr lang="es-ES" altLang="en-US" sz="1300" dirty="0" smtClean="0">
                <a:solidFill>
                  <a:schemeClr val="tx1">
                    <a:lumMod val="65000"/>
                    <a:lumOff val="35000"/>
                  </a:schemeClr>
                </a:solidFill>
              </a:rPr>
              <a:t>Formación precoz en empresa para desarrollar experiencia y competencias transversales.</a:t>
            </a:r>
            <a:endParaRPr lang="es-ES" altLang="en-US" sz="1300" dirty="0">
              <a:solidFill>
                <a:schemeClr val="tx1">
                  <a:lumMod val="65000"/>
                  <a:lumOff val="35000"/>
                </a:schemeClr>
              </a:solidFill>
            </a:endParaRPr>
          </a:p>
          <a:p>
            <a:pPr lvl="1" eaLnBrk="0" fontAlgn="base" hangingPunct="0">
              <a:lnSpc>
                <a:spcPct val="100000"/>
              </a:lnSpc>
              <a:spcBef>
                <a:spcPct val="0"/>
              </a:spcBef>
              <a:spcAft>
                <a:spcPct val="0"/>
              </a:spcAft>
              <a:tabLst>
                <a:tab pos="414668" algn="l"/>
              </a:tabLst>
            </a:pPr>
            <a:endParaRPr lang="es-ES" sz="1300" dirty="0">
              <a:solidFill>
                <a:schemeClr val="tx1">
                  <a:lumMod val="65000"/>
                  <a:lumOff val="35000"/>
                </a:schemeClr>
              </a:solidFill>
              <a:ea typeface="Verdana" panose="020B0604030504040204" pitchFamily="34" charset="0"/>
              <a:cs typeface="Verdana" panose="020B0604030504040204" pitchFamily="34" charset="0"/>
            </a:endParaRPr>
          </a:p>
        </p:txBody>
      </p:sp>
      <p:sp>
        <p:nvSpPr>
          <p:cNvPr id="4" name="Text Box 4"/>
          <p:cNvSpPr txBox="1">
            <a:spLocks noChangeArrowheads="1"/>
          </p:cNvSpPr>
          <p:nvPr/>
        </p:nvSpPr>
        <p:spPr bwMode="auto">
          <a:xfrm>
            <a:off x="0" y="9999550"/>
            <a:ext cx="651401" cy="243294"/>
          </a:xfrm>
          <a:prstGeom prst="rect">
            <a:avLst/>
          </a:prstGeom>
          <a:solidFill>
            <a:srgbClr val="9BBA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r" defTabSz="753466" eaLnBrk="0" fontAlgn="base" hangingPunct="0">
              <a:spcBef>
                <a:spcPct val="0"/>
              </a:spcBef>
              <a:spcAft>
                <a:spcPct val="0"/>
              </a:spcAft>
            </a:pPr>
            <a:r>
              <a:rPr lang="en-US" altLang="en-US" sz="906" b="1">
                <a:solidFill>
                  <a:srgbClr val="FFFFFF"/>
                </a:solidFill>
                <a:latin typeface="Times New Roman" panose="02020603050405020304" pitchFamily="18" charset="0"/>
                <a:ea typeface="Arial" panose="020B0604020202020204" pitchFamily="34" charset="0"/>
                <a:cs typeface="Times New Roman" panose="02020603050405020304" pitchFamily="18" charset="0"/>
              </a:rPr>
              <a:t>84</a:t>
            </a:r>
            <a:endParaRPr lang="en-US" altLang="en-US" sz="1483">
              <a:latin typeface="Arial" panose="020B0604020202020204" pitchFamily="34" charset="0"/>
            </a:endParaRPr>
          </a:p>
        </p:txBody>
      </p:sp>
      <p:sp>
        <p:nvSpPr>
          <p:cNvPr id="5" name="Text Box 3"/>
          <p:cNvSpPr txBox="1">
            <a:spLocks noChangeArrowheads="1"/>
          </p:cNvSpPr>
          <p:nvPr/>
        </p:nvSpPr>
        <p:spPr bwMode="auto">
          <a:xfrm>
            <a:off x="4776939" y="10437742"/>
            <a:ext cx="565071" cy="108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defTabSz="753466" eaLnBrk="0" fontAlgn="base" hangingPunct="0">
              <a:spcBef>
                <a:spcPct val="0"/>
              </a:spcBef>
              <a:spcAft>
                <a:spcPct val="0"/>
              </a:spcAft>
            </a:pPr>
            <a:r>
              <a:rPr lang="en-US" altLang="en-US" sz="742">
                <a:solidFill>
                  <a:srgbClr val="004D73"/>
                </a:solidFill>
                <a:latin typeface="Times New Roman" panose="02020603050405020304" pitchFamily="18" charset="0"/>
                <a:ea typeface="Arial" panose="020B0604020202020204" pitchFamily="34" charset="0"/>
                <a:cs typeface="Times New Roman" panose="02020603050405020304" pitchFamily="18" charset="0"/>
              </a:rPr>
              <a:t>Conclusiones</a:t>
            </a:r>
            <a:endParaRPr lang="en-US" altLang="en-US" sz="1483">
              <a:latin typeface="Arial" panose="020B0604020202020204" pitchFamily="34" charset="0"/>
            </a:endParaRPr>
          </a:p>
        </p:txBody>
      </p:sp>
      <p:sp>
        <p:nvSpPr>
          <p:cNvPr id="6" name="Line 2"/>
          <p:cNvSpPr>
            <a:spLocks noChangeShapeType="1"/>
          </p:cNvSpPr>
          <p:nvPr/>
        </p:nvSpPr>
        <p:spPr bwMode="auto">
          <a:xfrm>
            <a:off x="1484619" y="10337023"/>
            <a:ext cx="3912329" cy="0"/>
          </a:xfrm>
          <a:prstGeom prst="line">
            <a:avLst/>
          </a:prstGeom>
          <a:noFill/>
          <a:ln w="8890">
            <a:solidFill>
              <a:srgbClr val="9BBA58"/>
            </a:solidFill>
            <a:round/>
            <a:headEnd/>
            <a:tailEnd/>
          </a:ln>
          <a:extLst>
            <a:ext uri="{909E8E84-426E-40DD-AFC4-6F175D3DCCD1}">
              <a14:hiddenFill xmlns:a14="http://schemas.microsoft.com/office/drawing/2010/main">
                <a:noFill/>
              </a14:hiddenFill>
            </a:ext>
          </a:extLst>
        </p:spPr>
        <p:txBody>
          <a:bodyPr vert="horz" wrap="square" lIns="75343" tIns="37671" rIns="75343" bIns="37671" numCol="1" anchor="t" anchorCtr="0" compatLnSpc="1">
            <a:prstTxWarp prst="textNoShape">
              <a:avLst/>
            </a:prstTxWarp>
          </a:bodyPr>
          <a:lstStyle/>
          <a:p>
            <a:endParaRPr lang="en-US" sz="1648"/>
          </a:p>
        </p:txBody>
      </p:sp>
      <p:sp>
        <p:nvSpPr>
          <p:cNvPr id="7" name="Line 1"/>
          <p:cNvSpPr>
            <a:spLocks noChangeShapeType="1"/>
          </p:cNvSpPr>
          <p:nvPr/>
        </p:nvSpPr>
        <p:spPr bwMode="auto">
          <a:xfrm>
            <a:off x="0" y="9999550"/>
            <a:ext cx="651401" cy="0"/>
          </a:xfrm>
          <a:prstGeom prst="line">
            <a:avLst/>
          </a:prstGeom>
          <a:noFill/>
          <a:ln w="8890">
            <a:solidFill>
              <a:srgbClr val="9BBA58"/>
            </a:solidFill>
            <a:round/>
            <a:headEnd/>
            <a:tailEnd/>
          </a:ln>
          <a:extLst>
            <a:ext uri="{909E8E84-426E-40DD-AFC4-6F175D3DCCD1}">
              <a14:hiddenFill xmlns:a14="http://schemas.microsoft.com/office/drawing/2010/main">
                <a:noFill/>
              </a14:hiddenFill>
            </a:ext>
          </a:extLst>
        </p:spPr>
        <p:txBody>
          <a:bodyPr vert="horz" wrap="square" lIns="75343" tIns="37671" rIns="75343" bIns="37671" numCol="1" anchor="t" anchorCtr="0" compatLnSpc="1">
            <a:prstTxWarp prst="textNoShape">
              <a:avLst/>
            </a:prstTxWarp>
          </a:bodyPr>
          <a:lstStyle/>
          <a:p>
            <a:endParaRPr lang="en-US" sz="1648"/>
          </a:p>
        </p:txBody>
      </p:sp>
      <p:pic>
        <p:nvPicPr>
          <p:cNvPr id="2050" name="Picture 2" descr="Image result for problem solving icon"/>
          <p:cNvPicPr>
            <a:picLocks noChangeAspect="1" noChangeArrowheads="1"/>
          </p:cNvPicPr>
          <p:nvPr/>
        </p:nvPicPr>
        <p:blipFill>
          <a:blip r:embed="rId2">
            <a:biLevel thresh="25000"/>
            <a:extLst>
              <a:ext uri="{BEBA8EAE-BF5A-486C-A8C5-ECC9F3942E4B}">
                <a14:imgProps xmlns:a14="http://schemas.microsoft.com/office/drawing/2010/main">
                  <a14:imgLayer r:embed="rId3">
                    <a14:imgEffect>
                      <a14:sharpenSoften amount="50000"/>
                    </a14:imgEffect>
                    <a14:imgEffect>
                      <a14:brightnessContrast bright="75000" contrast="-100000"/>
                    </a14:imgEffect>
                  </a14:imgLayer>
                </a14:imgProps>
              </a:ext>
              <a:ext uri="{28A0092B-C50C-407E-A947-70E740481C1C}">
                <a14:useLocalDpi xmlns:a14="http://schemas.microsoft.com/office/drawing/2010/main" val="0"/>
              </a:ext>
            </a:extLst>
          </a:blip>
          <a:srcRect/>
          <a:stretch>
            <a:fillRect/>
          </a:stretch>
        </p:blipFill>
        <p:spPr bwMode="auto">
          <a:xfrm>
            <a:off x="320383" y="1689148"/>
            <a:ext cx="572213" cy="57221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58620" y="2830838"/>
            <a:ext cx="895739" cy="2039742"/>
          </a:xfrm>
          <a:prstGeom prst="rect">
            <a:avLst/>
          </a:prstGeom>
          <a:solidFill>
            <a:srgbClr val="A3A28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14" name="Rectangle 13"/>
          <p:cNvSpPr/>
          <p:nvPr/>
        </p:nvSpPr>
        <p:spPr>
          <a:xfrm>
            <a:off x="1054359" y="2830838"/>
            <a:ext cx="8648442" cy="203974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grpSp>
        <p:nvGrpSpPr>
          <p:cNvPr id="16" name="Group 15"/>
          <p:cNvGrpSpPr/>
          <p:nvPr/>
        </p:nvGrpSpPr>
        <p:grpSpPr>
          <a:xfrm>
            <a:off x="247066" y="3436207"/>
            <a:ext cx="718846" cy="697644"/>
            <a:chOff x="247066" y="3436207"/>
            <a:chExt cx="718846" cy="697644"/>
          </a:xfrm>
        </p:grpSpPr>
        <p:pic>
          <p:nvPicPr>
            <p:cNvPr id="2052" name="Picture 4" descr="Image result for training icon"/>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40000"/>
                      </a14:imgEffect>
                    </a14:imgLayer>
                  </a14:imgProps>
                </a:ext>
                <a:ext uri="{28A0092B-C50C-407E-A947-70E740481C1C}">
                  <a14:useLocalDpi xmlns:a14="http://schemas.microsoft.com/office/drawing/2010/main" val="0"/>
                </a:ext>
              </a:extLst>
            </a:blip>
            <a:srcRect/>
            <a:stretch>
              <a:fillRect/>
            </a:stretch>
          </p:blipFill>
          <p:spPr bwMode="auto">
            <a:xfrm>
              <a:off x="247066" y="3436207"/>
              <a:ext cx="718846" cy="69764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526257" y="3524251"/>
              <a:ext cx="397668" cy="428624"/>
            </a:xfrm>
            <a:prstGeom prst="rect">
              <a:avLst/>
            </a:prstGeom>
            <a:solidFill>
              <a:srgbClr val="A3A285"/>
            </a:solidFill>
            <a:ln w="12700">
              <a:solidFill>
                <a:srgbClr val="A3A28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15" name="Rounded Rectangle 14"/>
            <p:cNvSpPr/>
            <p:nvPr/>
          </p:nvSpPr>
          <p:spPr>
            <a:xfrm>
              <a:off x="457200" y="3617119"/>
              <a:ext cx="240506" cy="71437"/>
            </a:xfrm>
            <a:prstGeom prst="round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grpSp>
      <p:sp>
        <p:nvSpPr>
          <p:cNvPr id="17" name="Rectangle 16"/>
          <p:cNvSpPr/>
          <p:nvPr/>
        </p:nvSpPr>
        <p:spPr>
          <a:xfrm>
            <a:off x="168145" y="4958624"/>
            <a:ext cx="895739" cy="2039742"/>
          </a:xfrm>
          <a:prstGeom prst="rect">
            <a:avLst/>
          </a:prstGeom>
          <a:solidFill>
            <a:schemeClr val="accent2">
              <a:lumMod val="60000"/>
              <a:lumOff val="4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grpSp>
        <p:nvGrpSpPr>
          <p:cNvPr id="18" name="Group 17"/>
          <p:cNvGrpSpPr/>
          <p:nvPr/>
        </p:nvGrpSpPr>
        <p:grpSpPr>
          <a:xfrm>
            <a:off x="329708" y="5559693"/>
            <a:ext cx="553561" cy="553562"/>
            <a:chOff x="8707438" y="4673600"/>
            <a:chExt cx="503237" cy="503238"/>
          </a:xfrm>
          <a:noFill/>
        </p:grpSpPr>
        <p:sp>
          <p:nvSpPr>
            <p:cNvPr id="19" name="Freeform 69"/>
            <p:cNvSpPr>
              <a:spLocks noEditPoints="1"/>
            </p:cNvSpPr>
            <p:nvPr/>
          </p:nvSpPr>
          <p:spPr bwMode="auto">
            <a:xfrm>
              <a:off x="8707438" y="4673600"/>
              <a:ext cx="503237" cy="503238"/>
            </a:xfrm>
            <a:custGeom>
              <a:avLst/>
              <a:gdLst>
                <a:gd name="T0" fmla="*/ 1689 w 3483"/>
                <a:gd name="T1" fmla="*/ 3262 h 3485"/>
                <a:gd name="T2" fmla="*/ 1816 w 3483"/>
                <a:gd name="T3" fmla="*/ 3061 h 3485"/>
                <a:gd name="T4" fmla="*/ 2621 w 3483"/>
                <a:gd name="T5" fmla="*/ 2764 h 3485"/>
                <a:gd name="T6" fmla="*/ 2850 w 3483"/>
                <a:gd name="T7" fmla="*/ 2786 h 3485"/>
                <a:gd name="T8" fmla="*/ 698 w 3483"/>
                <a:gd name="T9" fmla="*/ 2630 h 3485"/>
                <a:gd name="T10" fmla="*/ 720 w 3483"/>
                <a:gd name="T11" fmla="*/ 2858 h 3485"/>
                <a:gd name="T12" fmla="*/ 827 w 3483"/>
                <a:gd name="T13" fmla="*/ 2657 h 3485"/>
                <a:gd name="T14" fmla="*/ 3036 w 3483"/>
                <a:gd name="T15" fmla="*/ 1770 h 3485"/>
                <a:gd name="T16" fmla="*/ 3271 w 3483"/>
                <a:gd name="T17" fmla="*/ 1743 h 3485"/>
                <a:gd name="T18" fmla="*/ 224 w 3483"/>
                <a:gd name="T19" fmla="*/ 1691 h 3485"/>
                <a:gd name="T20" fmla="*/ 424 w 3483"/>
                <a:gd name="T21" fmla="*/ 1818 h 3485"/>
                <a:gd name="T22" fmla="*/ 1605 w 3483"/>
                <a:gd name="T23" fmla="*/ 1047 h 3485"/>
                <a:gd name="T24" fmla="*/ 1044 w 3483"/>
                <a:gd name="T25" fmla="*/ 1608 h 3485"/>
                <a:gd name="T26" fmla="*/ 1209 w 3483"/>
                <a:gd name="T27" fmla="*/ 2122 h 3485"/>
                <a:gd name="T28" fmla="*/ 1520 w 3483"/>
                <a:gd name="T29" fmla="*/ 1968 h 3485"/>
                <a:gd name="T30" fmla="*/ 1663 w 3483"/>
                <a:gd name="T31" fmla="*/ 2100 h 3485"/>
                <a:gd name="T32" fmla="*/ 1741 w 3483"/>
                <a:gd name="T33" fmla="*/ 2041 h 3485"/>
                <a:gd name="T34" fmla="*/ 1818 w 3483"/>
                <a:gd name="T35" fmla="*/ 2100 h 3485"/>
                <a:gd name="T36" fmla="*/ 1961 w 3483"/>
                <a:gd name="T37" fmla="*/ 1968 h 3485"/>
                <a:gd name="T38" fmla="*/ 2273 w 3483"/>
                <a:gd name="T39" fmla="*/ 2122 h 3485"/>
                <a:gd name="T40" fmla="*/ 2436 w 3483"/>
                <a:gd name="T41" fmla="*/ 1608 h 3485"/>
                <a:gd name="T42" fmla="*/ 1874 w 3483"/>
                <a:gd name="T43" fmla="*/ 1047 h 3485"/>
                <a:gd name="T44" fmla="*/ 2629 w 3483"/>
                <a:gd name="T45" fmla="*/ 790 h 3485"/>
                <a:gd name="T46" fmla="*/ 2857 w 3483"/>
                <a:gd name="T47" fmla="*/ 768 h 3485"/>
                <a:gd name="T48" fmla="*/ 677 w 3483"/>
                <a:gd name="T49" fmla="*/ 645 h 3485"/>
                <a:gd name="T50" fmla="*/ 744 w 3483"/>
                <a:gd name="T51" fmla="*/ 864 h 3485"/>
                <a:gd name="T52" fmla="*/ 809 w 3483"/>
                <a:gd name="T53" fmla="*/ 645 h 3485"/>
                <a:gd name="T54" fmla="*/ 1634 w 3483"/>
                <a:gd name="T55" fmla="*/ 384 h 3485"/>
                <a:gd name="T56" fmla="*/ 1857 w 3483"/>
                <a:gd name="T57" fmla="*/ 304 h 3485"/>
                <a:gd name="T58" fmla="*/ 1975 w 3483"/>
                <a:gd name="T59" fmla="*/ 97 h 3485"/>
                <a:gd name="T60" fmla="*/ 1933 w 3483"/>
                <a:gd name="T61" fmla="*/ 600 h 3485"/>
                <a:gd name="T62" fmla="*/ 2416 w 3483"/>
                <a:gd name="T63" fmla="*/ 808 h 3485"/>
                <a:gd name="T64" fmla="*/ 2681 w 3483"/>
                <a:gd name="T65" fmla="*/ 419 h 3485"/>
                <a:gd name="T66" fmla="*/ 3064 w 3483"/>
                <a:gd name="T67" fmla="*/ 686 h 3485"/>
                <a:gd name="T68" fmla="*/ 2792 w 3483"/>
                <a:gd name="T69" fmla="*/ 1071 h 3485"/>
                <a:gd name="T70" fmla="*/ 2648 w 3483"/>
                <a:gd name="T71" fmla="*/ 1632 h 3485"/>
                <a:gd name="T72" fmla="*/ 3280 w 3483"/>
                <a:gd name="T73" fmla="*/ 1439 h 3485"/>
                <a:gd name="T74" fmla="*/ 3437 w 3483"/>
                <a:gd name="T75" fmla="*/ 1910 h 3485"/>
                <a:gd name="T76" fmla="*/ 2959 w 3483"/>
                <a:gd name="T77" fmla="*/ 2011 h 3485"/>
                <a:gd name="T78" fmla="*/ 2462 w 3483"/>
                <a:gd name="T79" fmla="*/ 2305 h 3485"/>
                <a:gd name="T80" fmla="*/ 3024 w 3483"/>
                <a:gd name="T81" fmla="*/ 2573 h 3485"/>
                <a:gd name="T82" fmla="*/ 2908 w 3483"/>
                <a:gd name="T83" fmla="*/ 3025 h 3485"/>
                <a:gd name="T84" fmla="*/ 2455 w 3483"/>
                <a:gd name="T85" fmla="*/ 2909 h 3485"/>
                <a:gd name="T86" fmla="*/ 2063 w 3483"/>
                <a:gd name="T87" fmla="*/ 2598 h 3485"/>
                <a:gd name="T88" fmla="*/ 2071 w 3483"/>
                <a:gd name="T89" fmla="*/ 3155 h 3485"/>
                <a:gd name="T90" fmla="*/ 1696 w 3483"/>
                <a:gd name="T91" fmla="*/ 3482 h 3485"/>
                <a:gd name="T92" fmla="*/ 1422 w 3483"/>
                <a:gd name="T93" fmla="*/ 3071 h 3485"/>
                <a:gd name="T94" fmla="*/ 1357 w 3483"/>
                <a:gd name="T95" fmla="*/ 2572 h 3485"/>
                <a:gd name="T96" fmla="*/ 1005 w 3483"/>
                <a:gd name="T97" fmla="*/ 2943 h 3485"/>
                <a:gd name="T98" fmla="*/ 540 w 3483"/>
                <a:gd name="T99" fmla="*/ 3003 h 3485"/>
                <a:gd name="T100" fmla="*/ 482 w 3483"/>
                <a:gd name="T101" fmla="*/ 2539 h 3485"/>
                <a:gd name="T102" fmla="*/ 980 w 3483"/>
                <a:gd name="T103" fmla="*/ 2248 h 3485"/>
                <a:gd name="T104" fmla="*/ 491 w 3483"/>
                <a:gd name="T105" fmla="*/ 2032 h 3485"/>
                <a:gd name="T106" fmla="*/ 26 w 3483"/>
                <a:gd name="T107" fmla="*/ 1872 h 3485"/>
                <a:gd name="T108" fmla="*/ 243 w 3483"/>
                <a:gd name="T109" fmla="*/ 1424 h 3485"/>
                <a:gd name="T110" fmla="*/ 847 w 3483"/>
                <a:gd name="T111" fmla="*/ 1558 h 3485"/>
                <a:gd name="T112" fmla="*/ 652 w 3483"/>
                <a:gd name="T113" fmla="*/ 1061 h 3485"/>
                <a:gd name="T114" fmla="*/ 427 w 3483"/>
                <a:gd name="T115" fmla="*/ 647 h 3485"/>
                <a:gd name="T116" fmla="*/ 840 w 3483"/>
                <a:gd name="T117" fmla="*/ 427 h 3485"/>
                <a:gd name="T118" fmla="*/ 1057 w 3483"/>
                <a:gd name="T119" fmla="*/ 846 h 3485"/>
                <a:gd name="T120" fmla="*/ 1529 w 3483"/>
                <a:gd name="T121" fmla="*/ 583 h 3485"/>
                <a:gd name="T122" fmla="*/ 1508 w 3483"/>
                <a:gd name="T123" fmla="*/ 97 h 3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83" h="3485">
                  <a:moveTo>
                    <a:pt x="1741" y="3035"/>
                  </a:moveTo>
                  <a:lnTo>
                    <a:pt x="1714" y="3038"/>
                  </a:lnTo>
                  <a:lnTo>
                    <a:pt x="1689" y="3048"/>
                  </a:lnTo>
                  <a:lnTo>
                    <a:pt x="1667" y="3061"/>
                  </a:lnTo>
                  <a:lnTo>
                    <a:pt x="1649" y="3079"/>
                  </a:lnTo>
                  <a:lnTo>
                    <a:pt x="1634" y="3102"/>
                  </a:lnTo>
                  <a:lnTo>
                    <a:pt x="1625" y="3127"/>
                  </a:lnTo>
                  <a:lnTo>
                    <a:pt x="1622" y="3155"/>
                  </a:lnTo>
                  <a:lnTo>
                    <a:pt x="1625" y="3182"/>
                  </a:lnTo>
                  <a:lnTo>
                    <a:pt x="1634" y="3207"/>
                  </a:lnTo>
                  <a:lnTo>
                    <a:pt x="1649" y="3229"/>
                  </a:lnTo>
                  <a:lnTo>
                    <a:pt x="1667" y="3247"/>
                  </a:lnTo>
                  <a:lnTo>
                    <a:pt x="1689" y="3262"/>
                  </a:lnTo>
                  <a:lnTo>
                    <a:pt x="1714" y="3270"/>
                  </a:lnTo>
                  <a:lnTo>
                    <a:pt x="1741" y="3273"/>
                  </a:lnTo>
                  <a:lnTo>
                    <a:pt x="1768" y="3270"/>
                  </a:lnTo>
                  <a:lnTo>
                    <a:pt x="1794" y="3262"/>
                  </a:lnTo>
                  <a:lnTo>
                    <a:pt x="1816" y="3247"/>
                  </a:lnTo>
                  <a:lnTo>
                    <a:pt x="1834" y="3229"/>
                  </a:lnTo>
                  <a:lnTo>
                    <a:pt x="1848" y="3207"/>
                  </a:lnTo>
                  <a:lnTo>
                    <a:pt x="1857" y="3182"/>
                  </a:lnTo>
                  <a:lnTo>
                    <a:pt x="1861" y="3155"/>
                  </a:lnTo>
                  <a:lnTo>
                    <a:pt x="1857" y="3127"/>
                  </a:lnTo>
                  <a:lnTo>
                    <a:pt x="1848" y="3102"/>
                  </a:lnTo>
                  <a:lnTo>
                    <a:pt x="1834" y="3079"/>
                  </a:lnTo>
                  <a:lnTo>
                    <a:pt x="1816" y="3061"/>
                  </a:lnTo>
                  <a:lnTo>
                    <a:pt x="1794" y="3048"/>
                  </a:lnTo>
                  <a:lnTo>
                    <a:pt x="1768" y="3038"/>
                  </a:lnTo>
                  <a:lnTo>
                    <a:pt x="1741" y="3035"/>
                  </a:lnTo>
                  <a:close/>
                  <a:moveTo>
                    <a:pt x="2739" y="2623"/>
                  </a:moveTo>
                  <a:lnTo>
                    <a:pt x="2717" y="2625"/>
                  </a:lnTo>
                  <a:lnTo>
                    <a:pt x="2694" y="2631"/>
                  </a:lnTo>
                  <a:lnTo>
                    <a:pt x="2673" y="2642"/>
                  </a:lnTo>
                  <a:lnTo>
                    <a:pt x="2655" y="2657"/>
                  </a:lnTo>
                  <a:lnTo>
                    <a:pt x="2639" y="2676"/>
                  </a:lnTo>
                  <a:lnTo>
                    <a:pt x="2629" y="2697"/>
                  </a:lnTo>
                  <a:lnTo>
                    <a:pt x="2621" y="2718"/>
                  </a:lnTo>
                  <a:lnTo>
                    <a:pt x="2619" y="2741"/>
                  </a:lnTo>
                  <a:lnTo>
                    <a:pt x="2621" y="2764"/>
                  </a:lnTo>
                  <a:lnTo>
                    <a:pt x="2629" y="2786"/>
                  </a:lnTo>
                  <a:lnTo>
                    <a:pt x="2639" y="2807"/>
                  </a:lnTo>
                  <a:lnTo>
                    <a:pt x="2655" y="2826"/>
                  </a:lnTo>
                  <a:lnTo>
                    <a:pt x="2673" y="2841"/>
                  </a:lnTo>
                  <a:lnTo>
                    <a:pt x="2694" y="2853"/>
                  </a:lnTo>
                  <a:lnTo>
                    <a:pt x="2717" y="2859"/>
                  </a:lnTo>
                  <a:lnTo>
                    <a:pt x="2740" y="2861"/>
                  </a:lnTo>
                  <a:lnTo>
                    <a:pt x="2762" y="2859"/>
                  </a:lnTo>
                  <a:lnTo>
                    <a:pt x="2784" y="2853"/>
                  </a:lnTo>
                  <a:lnTo>
                    <a:pt x="2806" y="2841"/>
                  </a:lnTo>
                  <a:lnTo>
                    <a:pt x="2824" y="2826"/>
                  </a:lnTo>
                  <a:lnTo>
                    <a:pt x="2838" y="2807"/>
                  </a:lnTo>
                  <a:lnTo>
                    <a:pt x="2850" y="2786"/>
                  </a:lnTo>
                  <a:lnTo>
                    <a:pt x="2857" y="2764"/>
                  </a:lnTo>
                  <a:lnTo>
                    <a:pt x="2859" y="2741"/>
                  </a:lnTo>
                  <a:lnTo>
                    <a:pt x="2857" y="2718"/>
                  </a:lnTo>
                  <a:lnTo>
                    <a:pt x="2850" y="2697"/>
                  </a:lnTo>
                  <a:lnTo>
                    <a:pt x="2838" y="2676"/>
                  </a:lnTo>
                  <a:lnTo>
                    <a:pt x="2824" y="2657"/>
                  </a:lnTo>
                  <a:lnTo>
                    <a:pt x="2805" y="2642"/>
                  </a:lnTo>
                  <a:lnTo>
                    <a:pt x="2784" y="2631"/>
                  </a:lnTo>
                  <a:lnTo>
                    <a:pt x="2762" y="2625"/>
                  </a:lnTo>
                  <a:lnTo>
                    <a:pt x="2739" y="2623"/>
                  </a:lnTo>
                  <a:close/>
                  <a:moveTo>
                    <a:pt x="743" y="2622"/>
                  </a:moveTo>
                  <a:lnTo>
                    <a:pt x="720" y="2624"/>
                  </a:lnTo>
                  <a:lnTo>
                    <a:pt x="698" y="2630"/>
                  </a:lnTo>
                  <a:lnTo>
                    <a:pt x="677" y="2641"/>
                  </a:lnTo>
                  <a:lnTo>
                    <a:pt x="659" y="2657"/>
                  </a:lnTo>
                  <a:lnTo>
                    <a:pt x="643" y="2676"/>
                  </a:lnTo>
                  <a:lnTo>
                    <a:pt x="632" y="2696"/>
                  </a:lnTo>
                  <a:lnTo>
                    <a:pt x="626" y="2718"/>
                  </a:lnTo>
                  <a:lnTo>
                    <a:pt x="624" y="2741"/>
                  </a:lnTo>
                  <a:lnTo>
                    <a:pt x="626" y="2764"/>
                  </a:lnTo>
                  <a:lnTo>
                    <a:pt x="632" y="2786"/>
                  </a:lnTo>
                  <a:lnTo>
                    <a:pt x="643" y="2807"/>
                  </a:lnTo>
                  <a:lnTo>
                    <a:pt x="659" y="2825"/>
                  </a:lnTo>
                  <a:lnTo>
                    <a:pt x="678" y="2841"/>
                  </a:lnTo>
                  <a:lnTo>
                    <a:pt x="698" y="2852"/>
                  </a:lnTo>
                  <a:lnTo>
                    <a:pt x="720" y="2858"/>
                  </a:lnTo>
                  <a:lnTo>
                    <a:pt x="744" y="2860"/>
                  </a:lnTo>
                  <a:lnTo>
                    <a:pt x="766" y="2858"/>
                  </a:lnTo>
                  <a:lnTo>
                    <a:pt x="788" y="2852"/>
                  </a:lnTo>
                  <a:lnTo>
                    <a:pt x="809" y="2841"/>
                  </a:lnTo>
                  <a:lnTo>
                    <a:pt x="827" y="2825"/>
                  </a:lnTo>
                  <a:lnTo>
                    <a:pt x="843" y="2807"/>
                  </a:lnTo>
                  <a:lnTo>
                    <a:pt x="854" y="2786"/>
                  </a:lnTo>
                  <a:lnTo>
                    <a:pt x="861" y="2764"/>
                  </a:lnTo>
                  <a:lnTo>
                    <a:pt x="863" y="2741"/>
                  </a:lnTo>
                  <a:lnTo>
                    <a:pt x="861" y="2718"/>
                  </a:lnTo>
                  <a:lnTo>
                    <a:pt x="854" y="2696"/>
                  </a:lnTo>
                  <a:lnTo>
                    <a:pt x="843" y="2676"/>
                  </a:lnTo>
                  <a:lnTo>
                    <a:pt x="827" y="2657"/>
                  </a:lnTo>
                  <a:lnTo>
                    <a:pt x="809" y="2641"/>
                  </a:lnTo>
                  <a:lnTo>
                    <a:pt x="788" y="2630"/>
                  </a:lnTo>
                  <a:lnTo>
                    <a:pt x="766" y="2624"/>
                  </a:lnTo>
                  <a:lnTo>
                    <a:pt x="743" y="2622"/>
                  </a:lnTo>
                  <a:close/>
                  <a:moveTo>
                    <a:pt x="3152" y="1624"/>
                  </a:moveTo>
                  <a:lnTo>
                    <a:pt x="3125" y="1627"/>
                  </a:lnTo>
                  <a:lnTo>
                    <a:pt x="3100" y="1636"/>
                  </a:lnTo>
                  <a:lnTo>
                    <a:pt x="3078" y="1651"/>
                  </a:lnTo>
                  <a:lnTo>
                    <a:pt x="3059" y="1669"/>
                  </a:lnTo>
                  <a:lnTo>
                    <a:pt x="3045" y="1691"/>
                  </a:lnTo>
                  <a:lnTo>
                    <a:pt x="3036" y="1716"/>
                  </a:lnTo>
                  <a:lnTo>
                    <a:pt x="3032" y="1743"/>
                  </a:lnTo>
                  <a:lnTo>
                    <a:pt x="3036" y="1770"/>
                  </a:lnTo>
                  <a:lnTo>
                    <a:pt x="3045" y="1796"/>
                  </a:lnTo>
                  <a:lnTo>
                    <a:pt x="3059" y="1818"/>
                  </a:lnTo>
                  <a:lnTo>
                    <a:pt x="3078" y="1836"/>
                  </a:lnTo>
                  <a:lnTo>
                    <a:pt x="3100" y="1850"/>
                  </a:lnTo>
                  <a:lnTo>
                    <a:pt x="3125" y="1859"/>
                  </a:lnTo>
                  <a:lnTo>
                    <a:pt x="3152" y="1863"/>
                  </a:lnTo>
                  <a:lnTo>
                    <a:pt x="3180" y="1859"/>
                  </a:lnTo>
                  <a:lnTo>
                    <a:pt x="3204" y="1850"/>
                  </a:lnTo>
                  <a:lnTo>
                    <a:pt x="3226" y="1836"/>
                  </a:lnTo>
                  <a:lnTo>
                    <a:pt x="3245" y="1818"/>
                  </a:lnTo>
                  <a:lnTo>
                    <a:pt x="3259" y="1796"/>
                  </a:lnTo>
                  <a:lnTo>
                    <a:pt x="3268" y="1770"/>
                  </a:lnTo>
                  <a:lnTo>
                    <a:pt x="3271" y="1743"/>
                  </a:lnTo>
                  <a:lnTo>
                    <a:pt x="3268" y="1716"/>
                  </a:lnTo>
                  <a:lnTo>
                    <a:pt x="3259" y="1691"/>
                  </a:lnTo>
                  <a:lnTo>
                    <a:pt x="3245" y="1669"/>
                  </a:lnTo>
                  <a:lnTo>
                    <a:pt x="3226" y="1651"/>
                  </a:lnTo>
                  <a:lnTo>
                    <a:pt x="3204" y="1636"/>
                  </a:lnTo>
                  <a:lnTo>
                    <a:pt x="3180" y="1627"/>
                  </a:lnTo>
                  <a:lnTo>
                    <a:pt x="3152" y="1624"/>
                  </a:lnTo>
                  <a:close/>
                  <a:moveTo>
                    <a:pt x="331" y="1624"/>
                  </a:moveTo>
                  <a:lnTo>
                    <a:pt x="303" y="1627"/>
                  </a:lnTo>
                  <a:lnTo>
                    <a:pt x="279" y="1636"/>
                  </a:lnTo>
                  <a:lnTo>
                    <a:pt x="256" y="1651"/>
                  </a:lnTo>
                  <a:lnTo>
                    <a:pt x="237" y="1669"/>
                  </a:lnTo>
                  <a:lnTo>
                    <a:pt x="224" y="1691"/>
                  </a:lnTo>
                  <a:lnTo>
                    <a:pt x="215" y="1716"/>
                  </a:lnTo>
                  <a:lnTo>
                    <a:pt x="212" y="1743"/>
                  </a:lnTo>
                  <a:lnTo>
                    <a:pt x="215" y="1770"/>
                  </a:lnTo>
                  <a:lnTo>
                    <a:pt x="224" y="1796"/>
                  </a:lnTo>
                  <a:lnTo>
                    <a:pt x="237" y="1818"/>
                  </a:lnTo>
                  <a:lnTo>
                    <a:pt x="256" y="1836"/>
                  </a:lnTo>
                  <a:lnTo>
                    <a:pt x="279" y="1850"/>
                  </a:lnTo>
                  <a:lnTo>
                    <a:pt x="303" y="1859"/>
                  </a:lnTo>
                  <a:lnTo>
                    <a:pt x="331" y="1863"/>
                  </a:lnTo>
                  <a:lnTo>
                    <a:pt x="358" y="1859"/>
                  </a:lnTo>
                  <a:lnTo>
                    <a:pt x="382" y="1850"/>
                  </a:lnTo>
                  <a:lnTo>
                    <a:pt x="405" y="1836"/>
                  </a:lnTo>
                  <a:lnTo>
                    <a:pt x="424" y="1818"/>
                  </a:lnTo>
                  <a:lnTo>
                    <a:pt x="438" y="1796"/>
                  </a:lnTo>
                  <a:lnTo>
                    <a:pt x="446" y="1770"/>
                  </a:lnTo>
                  <a:lnTo>
                    <a:pt x="449" y="1743"/>
                  </a:lnTo>
                  <a:lnTo>
                    <a:pt x="446" y="1716"/>
                  </a:lnTo>
                  <a:lnTo>
                    <a:pt x="438" y="1691"/>
                  </a:lnTo>
                  <a:lnTo>
                    <a:pt x="424" y="1669"/>
                  </a:lnTo>
                  <a:lnTo>
                    <a:pt x="405" y="1651"/>
                  </a:lnTo>
                  <a:lnTo>
                    <a:pt x="382" y="1636"/>
                  </a:lnTo>
                  <a:lnTo>
                    <a:pt x="358" y="1627"/>
                  </a:lnTo>
                  <a:lnTo>
                    <a:pt x="331" y="1624"/>
                  </a:lnTo>
                  <a:close/>
                  <a:moveTo>
                    <a:pt x="1740" y="1035"/>
                  </a:moveTo>
                  <a:lnTo>
                    <a:pt x="1672" y="1038"/>
                  </a:lnTo>
                  <a:lnTo>
                    <a:pt x="1605" y="1047"/>
                  </a:lnTo>
                  <a:lnTo>
                    <a:pt x="1541" y="1062"/>
                  </a:lnTo>
                  <a:lnTo>
                    <a:pt x="1479" y="1084"/>
                  </a:lnTo>
                  <a:lnTo>
                    <a:pt x="1420" y="1110"/>
                  </a:lnTo>
                  <a:lnTo>
                    <a:pt x="1364" y="1142"/>
                  </a:lnTo>
                  <a:lnTo>
                    <a:pt x="1312" y="1179"/>
                  </a:lnTo>
                  <a:lnTo>
                    <a:pt x="1262" y="1220"/>
                  </a:lnTo>
                  <a:lnTo>
                    <a:pt x="1216" y="1265"/>
                  </a:lnTo>
                  <a:lnTo>
                    <a:pt x="1176" y="1315"/>
                  </a:lnTo>
                  <a:lnTo>
                    <a:pt x="1139" y="1368"/>
                  </a:lnTo>
                  <a:lnTo>
                    <a:pt x="1107" y="1424"/>
                  </a:lnTo>
                  <a:lnTo>
                    <a:pt x="1081" y="1482"/>
                  </a:lnTo>
                  <a:lnTo>
                    <a:pt x="1059" y="1545"/>
                  </a:lnTo>
                  <a:lnTo>
                    <a:pt x="1044" y="1608"/>
                  </a:lnTo>
                  <a:lnTo>
                    <a:pt x="1034" y="1675"/>
                  </a:lnTo>
                  <a:lnTo>
                    <a:pt x="1031" y="1743"/>
                  </a:lnTo>
                  <a:lnTo>
                    <a:pt x="1034" y="1804"/>
                  </a:lnTo>
                  <a:lnTo>
                    <a:pt x="1041" y="1865"/>
                  </a:lnTo>
                  <a:lnTo>
                    <a:pt x="1054" y="1923"/>
                  </a:lnTo>
                  <a:lnTo>
                    <a:pt x="1072" y="1979"/>
                  </a:lnTo>
                  <a:lnTo>
                    <a:pt x="1093" y="2033"/>
                  </a:lnTo>
                  <a:lnTo>
                    <a:pt x="1120" y="2085"/>
                  </a:lnTo>
                  <a:lnTo>
                    <a:pt x="1150" y="2135"/>
                  </a:lnTo>
                  <a:lnTo>
                    <a:pt x="1183" y="2182"/>
                  </a:lnTo>
                  <a:lnTo>
                    <a:pt x="1190" y="2160"/>
                  </a:lnTo>
                  <a:lnTo>
                    <a:pt x="1198" y="2141"/>
                  </a:lnTo>
                  <a:lnTo>
                    <a:pt x="1209" y="2122"/>
                  </a:lnTo>
                  <a:lnTo>
                    <a:pt x="1223" y="2105"/>
                  </a:lnTo>
                  <a:lnTo>
                    <a:pt x="1239" y="2092"/>
                  </a:lnTo>
                  <a:lnTo>
                    <a:pt x="1259" y="2079"/>
                  </a:lnTo>
                  <a:lnTo>
                    <a:pt x="1283" y="2070"/>
                  </a:lnTo>
                  <a:lnTo>
                    <a:pt x="1318" y="2061"/>
                  </a:lnTo>
                  <a:lnTo>
                    <a:pt x="1352" y="2050"/>
                  </a:lnTo>
                  <a:lnTo>
                    <a:pt x="1384" y="2038"/>
                  </a:lnTo>
                  <a:lnTo>
                    <a:pt x="1413" y="2025"/>
                  </a:lnTo>
                  <a:lnTo>
                    <a:pt x="1440" y="2012"/>
                  </a:lnTo>
                  <a:lnTo>
                    <a:pt x="1465" y="1999"/>
                  </a:lnTo>
                  <a:lnTo>
                    <a:pt x="1486" y="1987"/>
                  </a:lnTo>
                  <a:lnTo>
                    <a:pt x="1505" y="1976"/>
                  </a:lnTo>
                  <a:lnTo>
                    <a:pt x="1520" y="1968"/>
                  </a:lnTo>
                  <a:lnTo>
                    <a:pt x="1531" y="1960"/>
                  </a:lnTo>
                  <a:lnTo>
                    <a:pt x="1537" y="1956"/>
                  </a:lnTo>
                  <a:lnTo>
                    <a:pt x="1541" y="1954"/>
                  </a:lnTo>
                  <a:lnTo>
                    <a:pt x="1630" y="2238"/>
                  </a:lnTo>
                  <a:lnTo>
                    <a:pt x="1648" y="2292"/>
                  </a:lnTo>
                  <a:lnTo>
                    <a:pt x="1648" y="2291"/>
                  </a:lnTo>
                  <a:lnTo>
                    <a:pt x="1662" y="2335"/>
                  </a:lnTo>
                  <a:lnTo>
                    <a:pt x="1709" y="2202"/>
                  </a:lnTo>
                  <a:lnTo>
                    <a:pt x="1692" y="2175"/>
                  </a:lnTo>
                  <a:lnTo>
                    <a:pt x="1679" y="2153"/>
                  </a:lnTo>
                  <a:lnTo>
                    <a:pt x="1671" y="2133"/>
                  </a:lnTo>
                  <a:lnTo>
                    <a:pt x="1666" y="2116"/>
                  </a:lnTo>
                  <a:lnTo>
                    <a:pt x="1663" y="2100"/>
                  </a:lnTo>
                  <a:lnTo>
                    <a:pt x="1663" y="2087"/>
                  </a:lnTo>
                  <a:lnTo>
                    <a:pt x="1667" y="2077"/>
                  </a:lnTo>
                  <a:lnTo>
                    <a:pt x="1672" y="2067"/>
                  </a:lnTo>
                  <a:lnTo>
                    <a:pt x="1678" y="2060"/>
                  </a:lnTo>
                  <a:lnTo>
                    <a:pt x="1686" y="2054"/>
                  </a:lnTo>
                  <a:lnTo>
                    <a:pt x="1694" y="2049"/>
                  </a:lnTo>
                  <a:lnTo>
                    <a:pt x="1703" y="2046"/>
                  </a:lnTo>
                  <a:lnTo>
                    <a:pt x="1712" y="2044"/>
                  </a:lnTo>
                  <a:lnTo>
                    <a:pt x="1720" y="2043"/>
                  </a:lnTo>
                  <a:lnTo>
                    <a:pt x="1727" y="2042"/>
                  </a:lnTo>
                  <a:lnTo>
                    <a:pt x="1733" y="2041"/>
                  </a:lnTo>
                  <a:lnTo>
                    <a:pt x="1738" y="2041"/>
                  </a:lnTo>
                  <a:lnTo>
                    <a:pt x="1741" y="2041"/>
                  </a:lnTo>
                  <a:lnTo>
                    <a:pt x="1743" y="2041"/>
                  </a:lnTo>
                  <a:lnTo>
                    <a:pt x="1747" y="2041"/>
                  </a:lnTo>
                  <a:lnTo>
                    <a:pt x="1754" y="2042"/>
                  </a:lnTo>
                  <a:lnTo>
                    <a:pt x="1761" y="2043"/>
                  </a:lnTo>
                  <a:lnTo>
                    <a:pt x="1769" y="2044"/>
                  </a:lnTo>
                  <a:lnTo>
                    <a:pt x="1778" y="2046"/>
                  </a:lnTo>
                  <a:lnTo>
                    <a:pt x="1786" y="2049"/>
                  </a:lnTo>
                  <a:lnTo>
                    <a:pt x="1795" y="2054"/>
                  </a:lnTo>
                  <a:lnTo>
                    <a:pt x="1803" y="2060"/>
                  </a:lnTo>
                  <a:lnTo>
                    <a:pt x="1810" y="2067"/>
                  </a:lnTo>
                  <a:lnTo>
                    <a:pt x="1814" y="2077"/>
                  </a:lnTo>
                  <a:lnTo>
                    <a:pt x="1817" y="2087"/>
                  </a:lnTo>
                  <a:lnTo>
                    <a:pt x="1818" y="2100"/>
                  </a:lnTo>
                  <a:lnTo>
                    <a:pt x="1816" y="2116"/>
                  </a:lnTo>
                  <a:lnTo>
                    <a:pt x="1811" y="2133"/>
                  </a:lnTo>
                  <a:lnTo>
                    <a:pt x="1802" y="2153"/>
                  </a:lnTo>
                  <a:lnTo>
                    <a:pt x="1790" y="2175"/>
                  </a:lnTo>
                  <a:lnTo>
                    <a:pt x="1772" y="2202"/>
                  </a:lnTo>
                  <a:lnTo>
                    <a:pt x="1819" y="2335"/>
                  </a:lnTo>
                  <a:lnTo>
                    <a:pt x="1834" y="2291"/>
                  </a:lnTo>
                  <a:lnTo>
                    <a:pt x="1834" y="2292"/>
                  </a:lnTo>
                  <a:lnTo>
                    <a:pt x="1851" y="2238"/>
                  </a:lnTo>
                  <a:lnTo>
                    <a:pt x="1941" y="1954"/>
                  </a:lnTo>
                  <a:lnTo>
                    <a:pt x="1943" y="1956"/>
                  </a:lnTo>
                  <a:lnTo>
                    <a:pt x="1951" y="1960"/>
                  </a:lnTo>
                  <a:lnTo>
                    <a:pt x="1961" y="1968"/>
                  </a:lnTo>
                  <a:lnTo>
                    <a:pt x="1976" y="1976"/>
                  </a:lnTo>
                  <a:lnTo>
                    <a:pt x="1995" y="1987"/>
                  </a:lnTo>
                  <a:lnTo>
                    <a:pt x="2016" y="1999"/>
                  </a:lnTo>
                  <a:lnTo>
                    <a:pt x="2042" y="2012"/>
                  </a:lnTo>
                  <a:lnTo>
                    <a:pt x="2068" y="2025"/>
                  </a:lnTo>
                  <a:lnTo>
                    <a:pt x="2098" y="2038"/>
                  </a:lnTo>
                  <a:lnTo>
                    <a:pt x="2130" y="2050"/>
                  </a:lnTo>
                  <a:lnTo>
                    <a:pt x="2164" y="2061"/>
                  </a:lnTo>
                  <a:lnTo>
                    <a:pt x="2197" y="2070"/>
                  </a:lnTo>
                  <a:lnTo>
                    <a:pt x="2222" y="2079"/>
                  </a:lnTo>
                  <a:lnTo>
                    <a:pt x="2242" y="2092"/>
                  </a:lnTo>
                  <a:lnTo>
                    <a:pt x="2259" y="2105"/>
                  </a:lnTo>
                  <a:lnTo>
                    <a:pt x="2273" y="2122"/>
                  </a:lnTo>
                  <a:lnTo>
                    <a:pt x="2283" y="2141"/>
                  </a:lnTo>
                  <a:lnTo>
                    <a:pt x="2292" y="2160"/>
                  </a:lnTo>
                  <a:lnTo>
                    <a:pt x="2298" y="2182"/>
                  </a:lnTo>
                  <a:lnTo>
                    <a:pt x="2332" y="2135"/>
                  </a:lnTo>
                  <a:lnTo>
                    <a:pt x="2362" y="2085"/>
                  </a:lnTo>
                  <a:lnTo>
                    <a:pt x="2387" y="2033"/>
                  </a:lnTo>
                  <a:lnTo>
                    <a:pt x="2409" y="1979"/>
                  </a:lnTo>
                  <a:lnTo>
                    <a:pt x="2426" y="1923"/>
                  </a:lnTo>
                  <a:lnTo>
                    <a:pt x="2439" y="1865"/>
                  </a:lnTo>
                  <a:lnTo>
                    <a:pt x="2446" y="1804"/>
                  </a:lnTo>
                  <a:lnTo>
                    <a:pt x="2449" y="1743"/>
                  </a:lnTo>
                  <a:lnTo>
                    <a:pt x="2445" y="1675"/>
                  </a:lnTo>
                  <a:lnTo>
                    <a:pt x="2436" y="1608"/>
                  </a:lnTo>
                  <a:lnTo>
                    <a:pt x="2420" y="1545"/>
                  </a:lnTo>
                  <a:lnTo>
                    <a:pt x="2399" y="1482"/>
                  </a:lnTo>
                  <a:lnTo>
                    <a:pt x="2372" y="1424"/>
                  </a:lnTo>
                  <a:lnTo>
                    <a:pt x="2341" y="1368"/>
                  </a:lnTo>
                  <a:lnTo>
                    <a:pt x="2304" y="1315"/>
                  </a:lnTo>
                  <a:lnTo>
                    <a:pt x="2263" y="1265"/>
                  </a:lnTo>
                  <a:lnTo>
                    <a:pt x="2218" y="1220"/>
                  </a:lnTo>
                  <a:lnTo>
                    <a:pt x="2169" y="1179"/>
                  </a:lnTo>
                  <a:lnTo>
                    <a:pt x="2116" y="1142"/>
                  </a:lnTo>
                  <a:lnTo>
                    <a:pt x="2060" y="1110"/>
                  </a:lnTo>
                  <a:lnTo>
                    <a:pt x="2000" y="1084"/>
                  </a:lnTo>
                  <a:lnTo>
                    <a:pt x="1939" y="1062"/>
                  </a:lnTo>
                  <a:lnTo>
                    <a:pt x="1874" y="1047"/>
                  </a:lnTo>
                  <a:lnTo>
                    <a:pt x="1808" y="1038"/>
                  </a:lnTo>
                  <a:lnTo>
                    <a:pt x="1740" y="1035"/>
                  </a:lnTo>
                  <a:close/>
                  <a:moveTo>
                    <a:pt x="2739" y="626"/>
                  </a:moveTo>
                  <a:lnTo>
                    <a:pt x="2717" y="629"/>
                  </a:lnTo>
                  <a:lnTo>
                    <a:pt x="2694" y="635"/>
                  </a:lnTo>
                  <a:lnTo>
                    <a:pt x="2673" y="646"/>
                  </a:lnTo>
                  <a:lnTo>
                    <a:pt x="2655" y="661"/>
                  </a:lnTo>
                  <a:lnTo>
                    <a:pt x="2639" y="680"/>
                  </a:lnTo>
                  <a:lnTo>
                    <a:pt x="2629" y="700"/>
                  </a:lnTo>
                  <a:lnTo>
                    <a:pt x="2621" y="722"/>
                  </a:lnTo>
                  <a:lnTo>
                    <a:pt x="2619" y="745"/>
                  </a:lnTo>
                  <a:lnTo>
                    <a:pt x="2621" y="768"/>
                  </a:lnTo>
                  <a:lnTo>
                    <a:pt x="2629" y="790"/>
                  </a:lnTo>
                  <a:lnTo>
                    <a:pt x="2639" y="811"/>
                  </a:lnTo>
                  <a:lnTo>
                    <a:pt x="2655" y="830"/>
                  </a:lnTo>
                  <a:lnTo>
                    <a:pt x="2673" y="845"/>
                  </a:lnTo>
                  <a:lnTo>
                    <a:pt x="2694" y="857"/>
                  </a:lnTo>
                  <a:lnTo>
                    <a:pt x="2717" y="863"/>
                  </a:lnTo>
                  <a:lnTo>
                    <a:pt x="2740" y="865"/>
                  </a:lnTo>
                  <a:lnTo>
                    <a:pt x="2762" y="863"/>
                  </a:lnTo>
                  <a:lnTo>
                    <a:pt x="2784" y="857"/>
                  </a:lnTo>
                  <a:lnTo>
                    <a:pt x="2806" y="845"/>
                  </a:lnTo>
                  <a:lnTo>
                    <a:pt x="2824" y="830"/>
                  </a:lnTo>
                  <a:lnTo>
                    <a:pt x="2838" y="811"/>
                  </a:lnTo>
                  <a:lnTo>
                    <a:pt x="2850" y="790"/>
                  </a:lnTo>
                  <a:lnTo>
                    <a:pt x="2857" y="768"/>
                  </a:lnTo>
                  <a:lnTo>
                    <a:pt x="2859" y="745"/>
                  </a:lnTo>
                  <a:lnTo>
                    <a:pt x="2857" y="722"/>
                  </a:lnTo>
                  <a:lnTo>
                    <a:pt x="2850" y="700"/>
                  </a:lnTo>
                  <a:lnTo>
                    <a:pt x="2838" y="680"/>
                  </a:lnTo>
                  <a:lnTo>
                    <a:pt x="2824" y="661"/>
                  </a:lnTo>
                  <a:lnTo>
                    <a:pt x="2805" y="646"/>
                  </a:lnTo>
                  <a:lnTo>
                    <a:pt x="2784" y="635"/>
                  </a:lnTo>
                  <a:lnTo>
                    <a:pt x="2762" y="629"/>
                  </a:lnTo>
                  <a:lnTo>
                    <a:pt x="2739" y="626"/>
                  </a:lnTo>
                  <a:close/>
                  <a:moveTo>
                    <a:pt x="743" y="626"/>
                  </a:moveTo>
                  <a:lnTo>
                    <a:pt x="720" y="628"/>
                  </a:lnTo>
                  <a:lnTo>
                    <a:pt x="698" y="634"/>
                  </a:lnTo>
                  <a:lnTo>
                    <a:pt x="677" y="645"/>
                  </a:lnTo>
                  <a:lnTo>
                    <a:pt x="659" y="661"/>
                  </a:lnTo>
                  <a:lnTo>
                    <a:pt x="643" y="679"/>
                  </a:lnTo>
                  <a:lnTo>
                    <a:pt x="632" y="700"/>
                  </a:lnTo>
                  <a:lnTo>
                    <a:pt x="626" y="722"/>
                  </a:lnTo>
                  <a:lnTo>
                    <a:pt x="624" y="745"/>
                  </a:lnTo>
                  <a:lnTo>
                    <a:pt x="626" y="768"/>
                  </a:lnTo>
                  <a:lnTo>
                    <a:pt x="632" y="790"/>
                  </a:lnTo>
                  <a:lnTo>
                    <a:pt x="643" y="811"/>
                  </a:lnTo>
                  <a:lnTo>
                    <a:pt x="659" y="829"/>
                  </a:lnTo>
                  <a:lnTo>
                    <a:pt x="678" y="845"/>
                  </a:lnTo>
                  <a:lnTo>
                    <a:pt x="698" y="856"/>
                  </a:lnTo>
                  <a:lnTo>
                    <a:pt x="720" y="862"/>
                  </a:lnTo>
                  <a:lnTo>
                    <a:pt x="744" y="864"/>
                  </a:lnTo>
                  <a:lnTo>
                    <a:pt x="766" y="862"/>
                  </a:lnTo>
                  <a:lnTo>
                    <a:pt x="788" y="856"/>
                  </a:lnTo>
                  <a:lnTo>
                    <a:pt x="809" y="845"/>
                  </a:lnTo>
                  <a:lnTo>
                    <a:pt x="827" y="829"/>
                  </a:lnTo>
                  <a:lnTo>
                    <a:pt x="843" y="811"/>
                  </a:lnTo>
                  <a:lnTo>
                    <a:pt x="854" y="790"/>
                  </a:lnTo>
                  <a:lnTo>
                    <a:pt x="861" y="768"/>
                  </a:lnTo>
                  <a:lnTo>
                    <a:pt x="863" y="745"/>
                  </a:lnTo>
                  <a:lnTo>
                    <a:pt x="861" y="722"/>
                  </a:lnTo>
                  <a:lnTo>
                    <a:pt x="854" y="700"/>
                  </a:lnTo>
                  <a:lnTo>
                    <a:pt x="843" y="679"/>
                  </a:lnTo>
                  <a:lnTo>
                    <a:pt x="827" y="661"/>
                  </a:lnTo>
                  <a:lnTo>
                    <a:pt x="809" y="645"/>
                  </a:lnTo>
                  <a:lnTo>
                    <a:pt x="788" y="634"/>
                  </a:lnTo>
                  <a:lnTo>
                    <a:pt x="766" y="628"/>
                  </a:lnTo>
                  <a:lnTo>
                    <a:pt x="743" y="626"/>
                  </a:lnTo>
                  <a:close/>
                  <a:moveTo>
                    <a:pt x="1741" y="212"/>
                  </a:moveTo>
                  <a:lnTo>
                    <a:pt x="1714" y="215"/>
                  </a:lnTo>
                  <a:lnTo>
                    <a:pt x="1689" y="225"/>
                  </a:lnTo>
                  <a:lnTo>
                    <a:pt x="1667" y="239"/>
                  </a:lnTo>
                  <a:lnTo>
                    <a:pt x="1649" y="258"/>
                  </a:lnTo>
                  <a:lnTo>
                    <a:pt x="1634" y="279"/>
                  </a:lnTo>
                  <a:lnTo>
                    <a:pt x="1625" y="304"/>
                  </a:lnTo>
                  <a:lnTo>
                    <a:pt x="1622" y="332"/>
                  </a:lnTo>
                  <a:lnTo>
                    <a:pt x="1625" y="360"/>
                  </a:lnTo>
                  <a:lnTo>
                    <a:pt x="1634" y="384"/>
                  </a:lnTo>
                  <a:lnTo>
                    <a:pt x="1649" y="406"/>
                  </a:lnTo>
                  <a:lnTo>
                    <a:pt x="1667" y="425"/>
                  </a:lnTo>
                  <a:lnTo>
                    <a:pt x="1689" y="439"/>
                  </a:lnTo>
                  <a:lnTo>
                    <a:pt x="1714" y="448"/>
                  </a:lnTo>
                  <a:lnTo>
                    <a:pt x="1741" y="451"/>
                  </a:lnTo>
                  <a:lnTo>
                    <a:pt x="1768" y="448"/>
                  </a:lnTo>
                  <a:lnTo>
                    <a:pt x="1794" y="439"/>
                  </a:lnTo>
                  <a:lnTo>
                    <a:pt x="1816" y="425"/>
                  </a:lnTo>
                  <a:lnTo>
                    <a:pt x="1834" y="406"/>
                  </a:lnTo>
                  <a:lnTo>
                    <a:pt x="1848" y="384"/>
                  </a:lnTo>
                  <a:lnTo>
                    <a:pt x="1857" y="360"/>
                  </a:lnTo>
                  <a:lnTo>
                    <a:pt x="1861" y="332"/>
                  </a:lnTo>
                  <a:lnTo>
                    <a:pt x="1857" y="304"/>
                  </a:lnTo>
                  <a:lnTo>
                    <a:pt x="1848" y="279"/>
                  </a:lnTo>
                  <a:lnTo>
                    <a:pt x="1834" y="258"/>
                  </a:lnTo>
                  <a:lnTo>
                    <a:pt x="1816" y="239"/>
                  </a:lnTo>
                  <a:lnTo>
                    <a:pt x="1794" y="225"/>
                  </a:lnTo>
                  <a:lnTo>
                    <a:pt x="1768" y="215"/>
                  </a:lnTo>
                  <a:lnTo>
                    <a:pt x="1741" y="212"/>
                  </a:lnTo>
                  <a:close/>
                  <a:moveTo>
                    <a:pt x="1741" y="0"/>
                  </a:moveTo>
                  <a:lnTo>
                    <a:pt x="1786" y="3"/>
                  </a:lnTo>
                  <a:lnTo>
                    <a:pt x="1829" y="12"/>
                  </a:lnTo>
                  <a:lnTo>
                    <a:pt x="1870" y="26"/>
                  </a:lnTo>
                  <a:lnTo>
                    <a:pt x="1908" y="45"/>
                  </a:lnTo>
                  <a:lnTo>
                    <a:pt x="1943" y="69"/>
                  </a:lnTo>
                  <a:lnTo>
                    <a:pt x="1975" y="97"/>
                  </a:lnTo>
                  <a:lnTo>
                    <a:pt x="2003" y="128"/>
                  </a:lnTo>
                  <a:lnTo>
                    <a:pt x="2027" y="163"/>
                  </a:lnTo>
                  <a:lnTo>
                    <a:pt x="2046" y="202"/>
                  </a:lnTo>
                  <a:lnTo>
                    <a:pt x="2060" y="243"/>
                  </a:lnTo>
                  <a:lnTo>
                    <a:pt x="2068" y="285"/>
                  </a:lnTo>
                  <a:lnTo>
                    <a:pt x="2071" y="331"/>
                  </a:lnTo>
                  <a:lnTo>
                    <a:pt x="2068" y="378"/>
                  </a:lnTo>
                  <a:lnTo>
                    <a:pt x="2059" y="422"/>
                  </a:lnTo>
                  <a:lnTo>
                    <a:pt x="2044" y="464"/>
                  </a:lnTo>
                  <a:lnTo>
                    <a:pt x="2023" y="504"/>
                  </a:lnTo>
                  <a:lnTo>
                    <a:pt x="1997" y="540"/>
                  </a:lnTo>
                  <a:lnTo>
                    <a:pt x="1966" y="572"/>
                  </a:lnTo>
                  <a:lnTo>
                    <a:pt x="1933" y="600"/>
                  </a:lnTo>
                  <a:lnTo>
                    <a:pt x="1894" y="623"/>
                  </a:lnTo>
                  <a:lnTo>
                    <a:pt x="1853" y="640"/>
                  </a:lnTo>
                  <a:lnTo>
                    <a:pt x="1853" y="835"/>
                  </a:lnTo>
                  <a:lnTo>
                    <a:pt x="1924" y="847"/>
                  </a:lnTo>
                  <a:lnTo>
                    <a:pt x="1994" y="864"/>
                  </a:lnTo>
                  <a:lnTo>
                    <a:pt x="2061" y="886"/>
                  </a:lnTo>
                  <a:lnTo>
                    <a:pt x="2125" y="914"/>
                  </a:lnTo>
                  <a:lnTo>
                    <a:pt x="2188" y="946"/>
                  </a:lnTo>
                  <a:lnTo>
                    <a:pt x="2247" y="982"/>
                  </a:lnTo>
                  <a:lnTo>
                    <a:pt x="2302" y="1022"/>
                  </a:lnTo>
                  <a:lnTo>
                    <a:pt x="2440" y="884"/>
                  </a:lnTo>
                  <a:lnTo>
                    <a:pt x="2425" y="847"/>
                  </a:lnTo>
                  <a:lnTo>
                    <a:pt x="2416" y="808"/>
                  </a:lnTo>
                  <a:lnTo>
                    <a:pt x="2410" y="769"/>
                  </a:lnTo>
                  <a:lnTo>
                    <a:pt x="2409" y="729"/>
                  </a:lnTo>
                  <a:lnTo>
                    <a:pt x="2414" y="689"/>
                  </a:lnTo>
                  <a:lnTo>
                    <a:pt x="2422" y="651"/>
                  </a:lnTo>
                  <a:lnTo>
                    <a:pt x="2436" y="613"/>
                  </a:lnTo>
                  <a:lnTo>
                    <a:pt x="2454" y="577"/>
                  </a:lnTo>
                  <a:lnTo>
                    <a:pt x="2477" y="542"/>
                  </a:lnTo>
                  <a:lnTo>
                    <a:pt x="2506" y="510"/>
                  </a:lnTo>
                  <a:lnTo>
                    <a:pt x="2537" y="482"/>
                  </a:lnTo>
                  <a:lnTo>
                    <a:pt x="2570" y="460"/>
                  </a:lnTo>
                  <a:lnTo>
                    <a:pt x="2605" y="441"/>
                  </a:lnTo>
                  <a:lnTo>
                    <a:pt x="2642" y="427"/>
                  </a:lnTo>
                  <a:lnTo>
                    <a:pt x="2681" y="419"/>
                  </a:lnTo>
                  <a:lnTo>
                    <a:pt x="2720" y="414"/>
                  </a:lnTo>
                  <a:lnTo>
                    <a:pt x="2759" y="414"/>
                  </a:lnTo>
                  <a:lnTo>
                    <a:pt x="2797" y="419"/>
                  </a:lnTo>
                  <a:lnTo>
                    <a:pt x="2835" y="427"/>
                  </a:lnTo>
                  <a:lnTo>
                    <a:pt x="2872" y="441"/>
                  </a:lnTo>
                  <a:lnTo>
                    <a:pt x="2908" y="460"/>
                  </a:lnTo>
                  <a:lnTo>
                    <a:pt x="2941" y="482"/>
                  </a:lnTo>
                  <a:lnTo>
                    <a:pt x="2973" y="510"/>
                  </a:lnTo>
                  <a:lnTo>
                    <a:pt x="3001" y="542"/>
                  </a:lnTo>
                  <a:lnTo>
                    <a:pt x="3023" y="575"/>
                  </a:lnTo>
                  <a:lnTo>
                    <a:pt x="3042" y="611"/>
                  </a:lnTo>
                  <a:lnTo>
                    <a:pt x="3056" y="648"/>
                  </a:lnTo>
                  <a:lnTo>
                    <a:pt x="3064" y="686"/>
                  </a:lnTo>
                  <a:lnTo>
                    <a:pt x="3069" y="724"/>
                  </a:lnTo>
                  <a:lnTo>
                    <a:pt x="3069" y="763"/>
                  </a:lnTo>
                  <a:lnTo>
                    <a:pt x="3064" y="803"/>
                  </a:lnTo>
                  <a:lnTo>
                    <a:pt x="3056" y="841"/>
                  </a:lnTo>
                  <a:lnTo>
                    <a:pt x="3042" y="878"/>
                  </a:lnTo>
                  <a:lnTo>
                    <a:pt x="3023" y="913"/>
                  </a:lnTo>
                  <a:lnTo>
                    <a:pt x="3001" y="947"/>
                  </a:lnTo>
                  <a:lnTo>
                    <a:pt x="2973" y="978"/>
                  </a:lnTo>
                  <a:lnTo>
                    <a:pt x="2941" y="1006"/>
                  </a:lnTo>
                  <a:lnTo>
                    <a:pt x="2906" y="1029"/>
                  </a:lnTo>
                  <a:lnTo>
                    <a:pt x="2869" y="1049"/>
                  </a:lnTo>
                  <a:lnTo>
                    <a:pt x="2831" y="1062"/>
                  </a:lnTo>
                  <a:lnTo>
                    <a:pt x="2792" y="1071"/>
                  </a:lnTo>
                  <a:lnTo>
                    <a:pt x="2752" y="1075"/>
                  </a:lnTo>
                  <a:lnTo>
                    <a:pt x="2711" y="1074"/>
                  </a:lnTo>
                  <a:lnTo>
                    <a:pt x="2672" y="1068"/>
                  </a:lnTo>
                  <a:lnTo>
                    <a:pt x="2633" y="1057"/>
                  </a:lnTo>
                  <a:lnTo>
                    <a:pt x="2595" y="1041"/>
                  </a:lnTo>
                  <a:lnTo>
                    <a:pt x="2458" y="1178"/>
                  </a:lnTo>
                  <a:lnTo>
                    <a:pt x="2499" y="1234"/>
                  </a:lnTo>
                  <a:lnTo>
                    <a:pt x="2537" y="1294"/>
                  </a:lnTo>
                  <a:lnTo>
                    <a:pt x="2568" y="1357"/>
                  </a:lnTo>
                  <a:lnTo>
                    <a:pt x="2596" y="1422"/>
                  </a:lnTo>
                  <a:lnTo>
                    <a:pt x="2618" y="1489"/>
                  </a:lnTo>
                  <a:lnTo>
                    <a:pt x="2636" y="1559"/>
                  </a:lnTo>
                  <a:lnTo>
                    <a:pt x="2648" y="1632"/>
                  </a:lnTo>
                  <a:lnTo>
                    <a:pt x="2842" y="1632"/>
                  </a:lnTo>
                  <a:lnTo>
                    <a:pt x="2860" y="1590"/>
                  </a:lnTo>
                  <a:lnTo>
                    <a:pt x="2883" y="1552"/>
                  </a:lnTo>
                  <a:lnTo>
                    <a:pt x="2911" y="1518"/>
                  </a:lnTo>
                  <a:lnTo>
                    <a:pt x="2942" y="1487"/>
                  </a:lnTo>
                  <a:lnTo>
                    <a:pt x="2978" y="1462"/>
                  </a:lnTo>
                  <a:lnTo>
                    <a:pt x="3018" y="1441"/>
                  </a:lnTo>
                  <a:lnTo>
                    <a:pt x="3060" y="1426"/>
                  </a:lnTo>
                  <a:lnTo>
                    <a:pt x="3106" y="1416"/>
                  </a:lnTo>
                  <a:lnTo>
                    <a:pt x="3152" y="1413"/>
                  </a:lnTo>
                  <a:lnTo>
                    <a:pt x="3197" y="1415"/>
                  </a:lnTo>
                  <a:lnTo>
                    <a:pt x="3240" y="1425"/>
                  </a:lnTo>
                  <a:lnTo>
                    <a:pt x="3280" y="1439"/>
                  </a:lnTo>
                  <a:lnTo>
                    <a:pt x="3318" y="1458"/>
                  </a:lnTo>
                  <a:lnTo>
                    <a:pt x="3354" y="1481"/>
                  </a:lnTo>
                  <a:lnTo>
                    <a:pt x="3385" y="1510"/>
                  </a:lnTo>
                  <a:lnTo>
                    <a:pt x="3414" y="1541"/>
                  </a:lnTo>
                  <a:lnTo>
                    <a:pt x="3437" y="1576"/>
                  </a:lnTo>
                  <a:lnTo>
                    <a:pt x="3456" y="1615"/>
                  </a:lnTo>
                  <a:lnTo>
                    <a:pt x="3471" y="1655"/>
                  </a:lnTo>
                  <a:lnTo>
                    <a:pt x="3480" y="1698"/>
                  </a:lnTo>
                  <a:lnTo>
                    <a:pt x="3483" y="1743"/>
                  </a:lnTo>
                  <a:lnTo>
                    <a:pt x="3480" y="1788"/>
                  </a:lnTo>
                  <a:lnTo>
                    <a:pt x="3471" y="1831"/>
                  </a:lnTo>
                  <a:lnTo>
                    <a:pt x="3456" y="1872"/>
                  </a:lnTo>
                  <a:lnTo>
                    <a:pt x="3437" y="1910"/>
                  </a:lnTo>
                  <a:lnTo>
                    <a:pt x="3414" y="1945"/>
                  </a:lnTo>
                  <a:lnTo>
                    <a:pt x="3385" y="1977"/>
                  </a:lnTo>
                  <a:lnTo>
                    <a:pt x="3354" y="2005"/>
                  </a:lnTo>
                  <a:lnTo>
                    <a:pt x="3318" y="2029"/>
                  </a:lnTo>
                  <a:lnTo>
                    <a:pt x="3280" y="2048"/>
                  </a:lnTo>
                  <a:lnTo>
                    <a:pt x="3240" y="2062"/>
                  </a:lnTo>
                  <a:lnTo>
                    <a:pt x="3197" y="2070"/>
                  </a:lnTo>
                  <a:lnTo>
                    <a:pt x="3152" y="2074"/>
                  </a:lnTo>
                  <a:lnTo>
                    <a:pt x="3110" y="2071"/>
                  </a:lnTo>
                  <a:lnTo>
                    <a:pt x="3068" y="2063"/>
                  </a:lnTo>
                  <a:lnTo>
                    <a:pt x="3029" y="2050"/>
                  </a:lnTo>
                  <a:lnTo>
                    <a:pt x="2993" y="2032"/>
                  </a:lnTo>
                  <a:lnTo>
                    <a:pt x="2959" y="2011"/>
                  </a:lnTo>
                  <a:lnTo>
                    <a:pt x="2927" y="1986"/>
                  </a:lnTo>
                  <a:lnTo>
                    <a:pt x="2900" y="1956"/>
                  </a:lnTo>
                  <a:lnTo>
                    <a:pt x="2876" y="1924"/>
                  </a:lnTo>
                  <a:lnTo>
                    <a:pt x="2855" y="1889"/>
                  </a:lnTo>
                  <a:lnTo>
                    <a:pt x="2841" y="1851"/>
                  </a:lnTo>
                  <a:lnTo>
                    <a:pt x="2649" y="1851"/>
                  </a:lnTo>
                  <a:lnTo>
                    <a:pt x="2637" y="1923"/>
                  </a:lnTo>
                  <a:lnTo>
                    <a:pt x="2621" y="1993"/>
                  </a:lnTo>
                  <a:lnTo>
                    <a:pt x="2599" y="2061"/>
                  </a:lnTo>
                  <a:lnTo>
                    <a:pt x="2571" y="2125"/>
                  </a:lnTo>
                  <a:lnTo>
                    <a:pt x="2540" y="2188"/>
                  </a:lnTo>
                  <a:lnTo>
                    <a:pt x="2503" y="2248"/>
                  </a:lnTo>
                  <a:lnTo>
                    <a:pt x="2462" y="2305"/>
                  </a:lnTo>
                  <a:lnTo>
                    <a:pt x="2600" y="2442"/>
                  </a:lnTo>
                  <a:lnTo>
                    <a:pt x="2637" y="2428"/>
                  </a:lnTo>
                  <a:lnTo>
                    <a:pt x="2675" y="2418"/>
                  </a:lnTo>
                  <a:lnTo>
                    <a:pt x="2716" y="2412"/>
                  </a:lnTo>
                  <a:lnTo>
                    <a:pt x="2755" y="2412"/>
                  </a:lnTo>
                  <a:lnTo>
                    <a:pt x="2794" y="2416"/>
                  </a:lnTo>
                  <a:lnTo>
                    <a:pt x="2833" y="2424"/>
                  </a:lnTo>
                  <a:lnTo>
                    <a:pt x="2871" y="2438"/>
                  </a:lnTo>
                  <a:lnTo>
                    <a:pt x="2907" y="2456"/>
                  </a:lnTo>
                  <a:lnTo>
                    <a:pt x="2942" y="2480"/>
                  </a:lnTo>
                  <a:lnTo>
                    <a:pt x="2974" y="2508"/>
                  </a:lnTo>
                  <a:lnTo>
                    <a:pt x="3002" y="2539"/>
                  </a:lnTo>
                  <a:lnTo>
                    <a:pt x="3024" y="2573"/>
                  </a:lnTo>
                  <a:lnTo>
                    <a:pt x="3042" y="2608"/>
                  </a:lnTo>
                  <a:lnTo>
                    <a:pt x="3056" y="2645"/>
                  </a:lnTo>
                  <a:lnTo>
                    <a:pt x="3065" y="2683"/>
                  </a:lnTo>
                  <a:lnTo>
                    <a:pt x="3069" y="2722"/>
                  </a:lnTo>
                  <a:lnTo>
                    <a:pt x="3069" y="2761"/>
                  </a:lnTo>
                  <a:lnTo>
                    <a:pt x="3065" y="2800"/>
                  </a:lnTo>
                  <a:lnTo>
                    <a:pt x="3056" y="2838"/>
                  </a:lnTo>
                  <a:lnTo>
                    <a:pt x="3042" y="2875"/>
                  </a:lnTo>
                  <a:lnTo>
                    <a:pt x="3024" y="2911"/>
                  </a:lnTo>
                  <a:lnTo>
                    <a:pt x="3002" y="2944"/>
                  </a:lnTo>
                  <a:lnTo>
                    <a:pt x="2974" y="2976"/>
                  </a:lnTo>
                  <a:lnTo>
                    <a:pt x="2942" y="3003"/>
                  </a:lnTo>
                  <a:lnTo>
                    <a:pt x="2908" y="3025"/>
                  </a:lnTo>
                  <a:lnTo>
                    <a:pt x="2873" y="3045"/>
                  </a:lnTo>
                  <a:lnTo>
                    <a:pt x="2836" y="3058"/>
                  </a:lnTo>
                  <a:lnTo>
                    <a:pt x="2798" y="3067"/>
                  </a:lnTo>
                  <a:lnTo>
                    <a:pt x="2759" y="3072"/>
                  </a:lnTo>
                  <a:lnTo>
                    <a:pt x="2721" y="3072"/>
                  </a:lnTo>
                  <a:lnTo>
                    <a:pt x="2682" y="3067"/>
                  </a:lnTo>
                  <a:lnTo>
                    <a:pt x="2644" y="3058"/>
                  </a:lnTo>
                  <a:lnTo>
                    <a:pt x="2606" y="3045"/>
                  </a:lnTo>
                  <a:lnTo>
                    <a:pt x="2571" y="3025"/>
                  </a:lnTo>
                  <a:lnTo>
                    <a:pt x="2538" y="3003"/>
                  </a:lnTo>
                  <a:lnTo>
                    <a:pt x="2506" y="2976"/>
                  </a:lnTo>
                  <a:lnTo>
                    <a:pt x="2478" y="2943"/>
                  </a:lnTo>
                  <a:lnTo>
                    <a:pt x="2455" y="2909"/>
                  </a:lnTo>
                  <a:lnTo>
                    <a:pt x="2436" y="2872"/>
                  </a:lnTo>
                  <a:lnTo>
                    <a:pt x="2422" y="2834"/>
                  </a:lnTo>
                  <a:lnTo>
                    <a:pt x="2414" y="2794"/>
                  </a:lnTo>
                  <a:lnTo>
                    <a:pt x="2409" y="2754"/>
                  </a:lnTo>
                  <a:lnTo>
                    <a:pt x="2410" y="2714"/>
                  </a:lnTo>
                  <a:lnTo>
                    <a:pt x="2417" y="2674"/>
                  </a:lnTo>
                  <a:lnTo>
                    <a:pt x="2427" y="2634"/>
                  </a:lnTo>
                  <a:lnTo>
                    <a:pt x="2442" y="2597"/>
                  </a:lnTo>
                  <a:lnTo>
                    <a:pt x="2307" y="2460"/>
                  </a:lnTo>
                  <a:lnTo>
                    <a:pt x="2249" y="2502"/>
                  </a:lnTo>
                  <a:lnTo>
                    <a:pt x="2190" y="2539"/>
                  </a:lnTo>
                  <a:lnTo>
                    <a:pt x="2128" y="2571"/>
                  </a:lnTo>
                  <a:lnTo>
                    <a:pt x="2063" y="2598"/>
                  </a:lnTo>
                  <a:lnTo>
                    <a:pt x="1995" y="2621"/>
                  </a:lnTo>
                  <a:lnTo>
                    <a:pt x="1925" y="2639"/>
                  </a:lnTo>
                  <a:lnTo>
                    <a:pt x="1853" y="2650"/>
                  </a:lnTo>
                  <a:lnTo>
                    <a:pt x="1853" y="2844"/>
                  </a:lnTo>
                  <a:lnTo>
                    <a:pt x="1894" y="2862"/>
                  </a:lnTo>
                  <a:lnTo>
                    <a:pt x="1933" y="2886"/>
                  </a:lnTo>
                  <a:lnTo>
                    <a:pt x="1966" y="2913"/>
                  </a:lnTo>
                  <a:lnTo>
                    <a:pt x="1996" y="2945"/>
                  </a:lnTo>
                  <a:lnTo>
                    <a:pt x="2023" y="2981"/>
                  </a:lnTo>
                  <a:lnTo>
                    <a:pt x="2043" y="3020"/>
                  </a:lnTo>
                  <a:lnTo>
                    <a:pt x="2059" y="3063"/>
                  </a:lnTo>
                  <a:lnTo>
                    <a:pt x="2068" y="3107"/>
                  </a:lnTo>
                  <a:lnTo>
                    <a:pt x="2071" y="3155"/>
                  </a:lnTo>
                  <a:lnTo>
                    <a:pt x="2068" y="3199"/>
                  </a:lnTo>
                  <a:lnTo>
                    <a:pt x="2060" y="3243"/>
                  </a:lnTo>
                  <a:lnTo>
                    <a:pt x="2046" y="3283"/>
                  </a:lnTo>
                  <a:lnTo>
                    <a:pt x="2027" y="3321"/>
                  </a:lnTo>
                  <a:lnTo>
                    <a:pt x="2003" y="3356"/>
                  </a:lnTo>
                  <a:lnTo>
                    <a:pt x="1975" y="3388"/>
                  </a:lnTo>
                  <a:lnTo>
                    <a:pt x="1943" y="3417"/>
                  </a:lnTo>
                  <a:lnTo>
                    <a:pt x="1908" y="3440"/>
                  </a:lnTo>
                  <a:lnTo>
                    <a:pt x="1870" y="3459"/>
                  </a:lnTo>
                  <a:lnTo>
                    <a:pt x="1829" y="3473"/>
                  </a:lnTo>
                  <a:lnTo>
                    <a:pt x="1786" y="3482"/>
                  </a:lnTo>
                  <a:lnTo>
                    <a:pt x="1741" y="3485"/>
                  </a:lnTo>
                  <a:lnTo>
                    <a:pt x="1696" y="3482"/>
                  </a:lnTo>
                  <a:lnTo>
                    <a:pt x="1654" y="3473"/>
                  </a:lnTo>
                  <a:lnTo>
                    <a:pt x="1613" y="3459"/>
                  </a:lnTo>
                  <a:lnTo>
                    <a:pt x="1574" y="3440"/>
                  </a:lnTo>
                  <a:lnTo>
                    <a:pt x="1539" y="3417"/>
                  </a:lnTo>
                  <a:lnTo>
                    <a:pt x="1508" y="3388"/>
                  </a:lnTo>
                  <a:lnTo>
                    <a:pt x="1480" y="3356"/>
                  </a:lnTo>
                  <a:lnTo>
                    <a:pt x="1456" y="3321"/>
                  </a:lnTo>
                  <a:lnTo>
                    <a:pt x="1437" y="3283"/>
                  </a:lnTo>
                  <a:lnTo>
                    <a:pt x="1423" y="3243"/>
                  </a:lnTo>
                  <a:lnTo>
                    <a:pt x="1414" y="3199"/>
                  </a:lnTo>
                  <a:lnTo>
                    <a:pt x="1411" y="3155"/>
                  </a:lnTo>
                  <a:lnTo>
                    <a:pt x="1413" y="3112"/>
                  </a:lnTo>
                  <a:lnTo>
                    <a:pt x="1422" y="3071"/>
                  </a:lnTo>
                  <a:lnTo>
                    <a:pt x="1435" y="3032"/>
                  </a:lnTo>
                  <a:lnTo>
                    <a:pt x="1453" y="2996"/>
                  </a:lnTo>
                  <a:lnTo>
                    <a:pt x="1474" y="2962"/>
                  </a:lnTo>
                  <a:lnTo>
                    <a:pt x="1499" y="2930"/>
                  </a:lnTo>
                  <a:lnTo>
                    <a:pt x="1529" y="2902"/>
                  </a:lnTo>
                  <a:lnTo>
                    <a:pt x="1561" y="2878"/>
                  </a:lnTo>
                  <a:lnTo>
                    <a:pt x="1596" y="2858"/>
                  </a:lnTo>
                  <a:lnTo>
                    <a:pt x="1634" y="2842"/>
                  </a:lnTo>
                  <a:lnTo>
                    <a:pt x="1634" y="2650"/>
                  </a:lnTo>
                  <a:lnTo>
                    <a:pt x="1561" y="2639"/>
                  </a:lnTo>
                  <a:lnTo>
                    <a:pt x="1491" y="2622"/>
                  </a:lnTo>
                  <a:lnTo>
                    <a:pt x="1423" y="2599"/>
                  </a:lnTo>
                  <a:lnTo>
                    <a:pt x="1357" y="2572"/>
                  </a:lnTo>
                  <a:lnTo>
                    <a:pt x="1294" y="2539"/>
                  </a:lnTo>
                  <a:lnTo>
                    <a:pt x="1234" y="2502"/>
                  </a:lnTo>
                  <a:lnTo>
                    <a:pt x="1177" y="2460"/>
                  </a:lnTo>
                  <a:lnTo>
                    <a:pt x="1040" y="2597"/>
                  </a:lnTo>
                  <a:lnTo>
                    <a:pt x="1056" y="2634"/>
                  </a:lnTo>
                  <a:lnTo>
                    <a:pt x="1067" y="2674"/>
                  </a:lnTo>
                  <a:lnTo>
                    <a:pt x="1072" y="2714"/>
                  </a:lnTo>
                  <a:lnTo>
                    <a:pt x="1073" y="2754"/>
                  </a:lnTo>
                  <a:lnTo>
                    <a:pt x="1069" y="2794"/>
                  </a:lnTo>
                  <a:lnTo>
                    <a:pt x="1061" y="2834"/>
                  </a:lnTo>
                  <a:lnTo>
                    <a:pt x="1047" y="2872"/>
                  </a:lnTo>
                  <a:lnTo>
                    <a:pt x="1029" y="2909"/>
                  </a:lnTo>
                  <a:lnTo>
                    <a:pt x="1005" y="2943"/>
                  </a:lnTo>
                  <a:lnTo>
                    <a:pt x="977" y="2976"/>
                  </a:lnTo>
                  <a:lnTo>
                    <a:pt x="946" y="3003"/>
                  </a:lnTo>
                  <a:lnTo>
                    <a:pt x="912" y="3025"/>
                  </a:lnTo>
                  <a:lnTo>
                    <a:pt x="877" y="3045"/>
                  </a:lnTo>
                  <a:lnTo>
                    <a:pt x="840" y="3058"/>
                  </a:lnTo>
                  <a:lnTo>
                    <a:pt x="802" y="3067"/>
                  </a:lnTo>
                  <a:lnTo>
                    <a:pt x="763" y="3072"/>
                  </a:lnTo>
                  <a:lnTo>
                    <a:pt x="724" y="3072"/>
                  </a:lnTo>
                  <a:lnTo>
                    <a:pt x="685" y="3067"/>
                  </a:lnTo>
                  <a:lnTo>
                    <a:pt x="647" y="3058"/>
                  </a:lnTo>
                  <a:lnTo>
                    <a:pt x="610" y="3045"/>
                  </a:lnTo>
                  <a:lnTo>
                    <a:pt x="574" y="3025"/>
                  </a:lnTo>
                  <a:lnTo>
                    <a:pt x="540" y="3003"/>
                  </a:lnTo>
                  <a:lnTo>
                    <a:pt x="510" y="2976"/>
                  </a:lnTo>
                  <a:lnTo>
                    <a:pt x="482" y="2944"/>
                  </a:lnTo>
                  <a:lnTo>
                    <a:pt x="459" y="2911"/>
                  </a:lnTo>
                  <a:lnTo>
                    <a:pt x="441" y="2875"/>
                  </a:lnTo>
                  <a:lnTo>
                    <a:pt x="427" y="2838"/>
                  </a:lnTo>
                  <a:lnTo>
                    <a:pt x="418" y="2800"/>
                  </a:lnTo>
                  <a:lnTo>
                    <a:pt x="413" y="2761"/>
                  </a:lnTo>
                  <a:lnTo>
                    <a:pt x="413" y="2722"/>
                  </a:lnTo>
                  <a:lnTo>
                    <a:pt x="418" y="2683"/>
                  </a:lnTo>
                  <a:lnTo>
                    <a:pt x="427" y="2645"/>
                  </a:lnTo>
                  <a:lnTo>
                    <a:pt x="441" y="2608"/>
                  </a:lnTo>
                  <a:lnTo>
                    <a:pt x="459" y="2573"/>
                  </a:lnTo>
                  <a:lnTo>
                    <a:pt x="482" y="2539"/>
                  </a:lnTo>
                  <a:lnTo>
                    <a:pt x="510" y="2508"/>
                  </a:lnTo>
                  <a:lnTo>
                    <a:pt x="541" y="2480"/>
                  </a:lnTo>
                  <a:lnTo>
                    <a:pt x="575" y="2456"/>
                  </a:lnTo>
                  <a:lnTo>
                    <a:pt x="611" y="2438"/>
                  </a:lnTo>
                  <a:lnTo>
                    <a:pt x="649" y="2424"/>
                  </a:lnTo>
                  <a:lnTo>
                    <a:pt x="689" y="2416"/>
                  </a:lnTo>
                  <a:lnTo>
                    <a:pt x="728" y="2412"/>
                  </a:lnTo>
                  <a:lnTo>
                    <a:pt x="768" y="2412"/>
                  </a:lnTo>
                  <a:lnTo>
                    <a:pt x="807" y="2418"/>
                  </a:lnTo>
                  <a:lnTo>
                    <a:pt x="845" y="2428"/>
                  </a:lnTo>
                  <a:lnTo>
                    <a:pt x="884" y="2442"/>
                  </a:lnTo>
                  <a:lnTo>
                    <a:pt x="1021" y="2305"/>
                  </a:lnTo>
                  <a:lnTo>
                    <a:pt x="980" y="2248"/>
                  </a:lnTo>
                  <a:lnTo>
                    <a:pt x="944" y="2188"/>
                  </a:lnTo>
                  <a:lnTo>
                    <a:pt x="912" y="2125"/>
                  </a:lnTo>
                  <a:lnTo>
                    <a:pt x="885" y="2061"/>
                  </a:lnTo>
                  <a:lnTo>
                    <a:pt x="862" y="1993"/>
                  </a:lnTo>
                  <a:lnTo>
                    <a:pt x="845" y="1923"/>
                  </a:lnTo>
                  <a:lnTo>
                    <a:pt x="834" y="1851"/>
                  </a:lnTo>
                  <a:lnTo>
                    <a:pt x="642" y="1851"/>
                  </a:lnTo>
                  <a:lnTo>
                    <a:pt x="627" y="1889"/>
                  </a:lnTo>
                  <a:lnTo>
                    <a:pt x="607" y="1924"/>
                  </a:lnTo>
                  <a:lnTo>
                    <a:pt x="583" y="1956"/>
                  </a:lnTo>
                  <a:lnTo>
                    <a:pt x="555" y="1986"/>
                  </a:lnTo>
                  <a:lnTo>
                    <a:pt x="524" y="2011"/>
                  </a:lnTo>
                  <a:lnTo>
                    <a:pt x="491" y="2032"/>
                  </a:lnTo>
                  <a:lnTo>
                    <a:pt x="453" y="2050"/>
                  </a:lnTo>
                  <a:lnTo>
                    <a:pt x="414" y="2063"/>
                  </a:lnTo>
                  <a:lnTo>
                    <a:pt x="373" y="2071"/>
                  </a:lnTo>
                  <a:lnTo>
                    <a:pt x="331" y="2074"/>
                  </a:lnTo>
                  <a:lnTo>
                    <a:pt x="286" y="2070"/>
                  </a:lnTo>
                  <a:lnTo>
                    <a:pt x="243" y="2062"/>
                  </a:lnTo>
                  <a:lnTo>
                    <a:pt x="202" y="2048"/>
                  </a:lnTo>
                  <a:lnTo>
                    <a:pt x="164" y="2029"/>
                  </a:lnTo>
                  <a:lnTo>
                    <a:pt x="128" y="2005"/>
                  </a:lnTo>
                  <a:lnTo>
                    <a:pt x="96" y="1977"/>
                  </a:lnTo>
                  <a:lnTo>
                    <a:pt x="69" y="1945"/>
                  </a:lnTo>
                  <a:lnTo>
                    <a:pt x="46" y="1910"/>
                  </a:lnTo>
                  <a:lnTo>
                    <a:pt x="26" y="1872"/>
                  </a:lnTo>
                  <a:lnTo>
                    <a:pt x="12" y="1831"/>
                  </a:lnTo>
                  <a:lnTo>
                    <a:pt x="3" y="1788"/>
                  </a:lnTo>
                  <a:lnTo>
                    <a:pt x="0" y="1743"/>
                  </a:lnTo>
                  <a:lnTo>
                    <a:pt x="3" y="1698"/>
                  </a:lnTo>
                  <a:lnTo>
                    <a:pt x="12" y="1655"/>
                  </a:lnTo>
                  <a:lnTo>
                    <a:pt x="26" y="1615"/>
                  </a:lnTo>
                  <a:lnTo>
                    <a:pt x="46" y="1576"/>
                  </a:lnTo>
                  <a:lnTo>
                    <a:pt x="69" y="1541"/>
                  </a:lnTo>
                  <a:lnTo>
                    <a:pt x="96" y="1510"/>
                  </a:lnTo>
                  <a:lnTo>
                    <a:pt x="128" y="1481"/>
                  </a:lnTo>
                  <a:lnTo>
                    <a:pt x="164" y="1458"/>
                  </a:lnTo>
                  <a:lnTo>
                    <a:pt x="202" y="1439"/>
                  </a:lnTo>
                  <a:lnTo>
                    <a:pt x="243" y="1424"/>
                  </a:lnTo>
                  <a:lnTo>
                    <a:pt x="286" y="1415"/>
                  </a:lnTo>
                  <a:lnTo>
                    <a:pt x="331" y="1412"/>
                  </a:lnTo>
                  <a:lnTo>
                    <a:pt x="377" y="1415"/>
                  </a:lnTo>
                  <a:lnTo>
                    <a:pt x="422" y="1425"/>
                  </a:lnTo>
                  <a:lnTo>
                    <a:pt x="464" y="1440"/>
                  </a:lnTo>
                  <a:lnTo>
                    <a:pt x="503" y="1461"/>
                  </a:lnTo>
                  <a:lnTo>
                    <a:pt x="539" y="1486"/>
                  </a:lnTo>
                  <a:lnTo>
                    <a:pt x="572" y="1517"/>
                  </a:lnTo>
                  <a:lnTo>
                    <a:pt x="600" y="1551"/>
                  </a:lnTo>
                  <a:lnTo>
                    <a:pt x="623" y="1589"/>
                  </a:lnTo>
                  <a:lnTo>
                    <a:pt x="641" y="1630"/>
                  </a:lnTo>
                  <a:lnTo>
                    <a:pt x="835" y="1630"/>
                  </a:lnTo>
                  <a:lnTo>
                    <a:pt x="847" y="1558"/>
                  </a:lnTo>
                  <a:lnTo>
                    <a:pt x="863" y="1488"/>
                  </a:lnTo>
                  <a:lnTo>
                    <a:pt x="887" y="1421"/>
                  </a:lnTo>
                  <a:lnTo>
                    <a:pt x="914" y="1356"/>
                  </a:lnTo>
                  <a:lnTo>
                    <a:pt x="946" y="1293"/>
                  </a:lnTo>
                  <a:lnTo>
                    <a:pt x="983" y="1233"/>
                  </a:lnTo>
                  <a:lnTo>
                    <a:pt x="1025" y="1177"/>
                  </a:lnTo>
                  <a:lnTo>
                    <a:pt x="888" y="1041"/>
                  </a:lnTo>
                  <a:lnTo>
                    <a:pt x="850" y="1056"/>
                  </a:lnTo>
                  <a:lnTo>
                    <a:pt x="811" y="1067"/>
                  </a:lnTo>
                  <a:lnTo>
                    <a:pt x="771" y="1073"/>
                  </a:lnTo>
                  <a:lnTo>
                    <a:pt x="731" y="1074"/>
                  </a:lnTo>
                  <a:lnTo>
                    <a:pt x="691" y="1070"/>
                  </a:lnTo>
                  <a:lnTo>
                    <a:pt x="652" y="1061"/>
                  </a:lnTo>
                  <a:lnTo>
                    <a:pt x="613" y="1047"/>
                  </a:lnTo>
                  <a:lnTo>
                    <a:pt x="576" y="1028"/>
                  </a:lnTo>
                  <a:lnTo>
                    <a:pt x="541" y="1005"/>
                  </a:lnTo>
                  <a:lnTo>
                    <a:pt x="510" y="978"/>
                  </a:lnTo>
                  <a:lnTo>
                    <a:pt x="482" y="946"/>
                  </a:lnTo>
                  <a:lnTo>
                    <a:pt x="459" y="913"/>
                  </a:lnTo>
                  <a:lnTo>
                    <a:pt x="441" y="877"/>
                  </a:lnTo>
                  <a:lnTo>
                    <a:pt x="427" y="840"/>
                  </a:lnTo>
                  <a:lnTo>
                    <a:pt x="418" y="802"/>
                  </a:lnTo>
                  <a:lnTo>
                    <a:pt x="413" y="763"/>
                  </a:lnTo>
                  <a:lnTo>
                    <a:pt x="413" y="724"/>
                  </a:lnTo>
                  <a:lnTo>
                    <a:pt x="418" y="685"/>
                  </a:lnTo>
                  <a:lnTo>
                    <a:pt x="427" y="647"/>
                  </a:lnTo>
                  <a:lnTo>
                    <a:pt x="441" y="610"/>
                  </a:lnTo>
                  <a:lnTo>
                    <a:pt x="459" y="575"/>
                  </a:lnTo>
                  <a:lnTo>
                    <a:pt x="482" y="541"/>
                  </a:lnTo>
                  <a:lnTo>
                    <a:pt x="510" y="510"/>
                  </a:lnTo>
                  <a:lnTo>
                    <a:pt x="540" y="482"/>
                  </a:lnTo>
                  <a:lnTo>
                    <a:pt x="574" y="459"/>
                  </a:lnTo>
                  <a:lnTo>
                    <a:pt x="610" y="441"/>
                  </a:lnTo>
                  <a:lnTo>
                    <a:pt x="647" y="427"/>
                  </a:lnTo>
                  <a:lnTo>
                    <a:pt x="685" y="418"/>
                  </a:lnTo>
                  <a:lnTo>
                    <a:pt x="724" y="414"/>
                  </a:lnTo>
                  <a:lnTo>
                    <a:pt x="763" y="414"/>
                  </a:lnTo>
                  <a:lnTo>
                    <a:pt x="802" y="418"/>
                  </a:lnTo>
                  <a:lnTo>
                    <a:pt x="840" y="427"/>
                  </a:lnTo>
                  <a:lnTo>
                    <a:pt x="877" y="441"/>
                  </a:lnTo>
                  <a:lnTo>
                    <a:pt x="912" y="459"/>
                  </a:lnTo>
                  <a:lnTo>
                    <a:pt x="946" y="482"/>
                  </a:lnTo>
                  <a:lnTo>
                    <a:pt x="977" y="510"/>
                  </a:lnTo>
                  <a:lnTo>
                    <a:pt x="1005" y="541"/>
                  </a:lnTo>
                  <a:lnTo>
                    <a:pt x="1029" y="576"/>
                  </a:lnTo>
                  <a:lnTo>
                    <a:pt x="1047" y="612"/>
                  </a:lnTo>
                  <a:lnTo>
                    <a:pt x="1061" y="649"/>
                  </a:lnTo>
                  <a:lnTo>
                    <a:pt x="1069" y="688"/>
                  </a:lnTo>
                  <a:lnTo>
                    <a:pt x="1073" y="728"/>
                  </a:lnTo>
                  <a:lnTo>
                    <a:pt x="1072" y="768"/>
                  </a:lnTo>
                  <a:lnTo>
                    <a:pt x="1067" y="807"/>
                  </a:lnTo>
                  <a:lnTo>
                    <a:pt x="1057" y="846"/>
                  </a:lnTo>
                  <a:lnTo>
                    <a:pt x="1041" y="883"/>
                  </a:lnTo>
                  <a:lnTo>
                    <a:pt x="1179" y="1021"/>
                  </a:lnTo>
                  <a:lnTo>
                    <a:pt x="1236" y="981"/>
                  </a:lnTo>
                  <a:lnTo>
                    <a:pt x="1296" y="945"/>
                  </a:lnTo>
                  <a:lnTo>
                    <a:pt x="1358" y="912"/>
                  </a:lnTo>
                  <a:lnTo>
                    <a:pt x="1424" y="885"/>
                  </a:lnTo>
                  <a:lnTo>
                    <a:pt x="1492" y="863"/>
                  </a:lnTo>
                  <a:lnTo>
                    <a:pt x="1562" y="846"/>
                  </a:lnTo>
                  <a:lnTo>
                    <a:pt x="1634" y="834"/>
                  </a:lnTo>
                  <a:lnTo>
                    <a:pt x="1634" y="643"/>
                  </a:lnTo>
                  <a:lnTo>
                    <a:pt x="1596" y="627"/>
                  </a:lnTo>
                  <a:lnTo>
                    <a:pt x="1561" y="607"/>
                  </a:lnTo>
                  <a:lnTo>
                    <a:pt x="1529" y="583"/>
                  </a:lnTo>
                  <a:lnTo>
                    <a:pt x="1499" y="556"/>
                  </a:lnTo>
                  <a:lnTo>
                    <a:pt x="1474" y="524"/>
                  </a:lnTo>
                  <a:lnTo>
                    <a:pt x="1453" y="490"/>
                  </a:lnTo>
                  <a:lnTo>
                    <a:pt x="1435" y="453"/>
                  </a:lnTo>
                  <a:lnTo>
                    <a:pt x="1422" y="415"/>
                  </a:lnTo>
                  <a:lnTo>
                    <a:pt x="1413" y="373"/>
                  </a:lnTo>
                  <a:lnTo>
                    <a:pt x="1411" y="331"/>
                  </a:lnTo>
                  <a:lnTo>
                    <a:pt x="1414" y="285"/>
                  </a:lnTo>
                  <a:lnTo>
                    <a:pt x="1423" y="243"/>
                  </a:lnTo>
                  <a:lnTo>
                    <a:pt x="1437" y="202"/>
                  </a:lnTo>
                  <a:lnTo>
                    <a:pt x="1456" y="163"/>
                  </a:lnTo>
                  <a:lnTo>
                    <a:pt x="1480" y="128"/>
                  </a:lnTo>
                  <a:lnTo>
                    <a:pt x="1508" y="97"/>
                  </a:lnTo>
                  <a:lnTo>
                    <a:pt x="1539" y="69"/>
                  </a:lnTo>
                  <a:lnTo>
                    <a:pt x="1574" y="45"/>
                  </a:lnTo>
                  <a:lnTo>
                    <a:pt x="1613" y="26"/>
                  </a:lnTo>
                  <a:lnTo>
                    <a:pt x="1654" y="12"/>
                  </a:lnTo>
                  <a:lnTo>
                    <a:pt x="1696" y="3"/>
                  </a:lnTo>
                  <a:lnTo>
                    <a:pt x="1741" y="0"/>
                  </a:lnTo>
                  <a:close/>
                </a:path>
              </a:pathLst>
            </a:custGeom>
            <a:solidFill>
              <a:schemeClr val="bg1"/>
            </a:solid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IN">
                <a:solidFill>
                  <a:srgbClr val="00B0F0"/>
                </a:solidFill>
              </a:endParaRPr>
            </a:p>
          </p:txBody>
        </p:sp>
        <p:sp>
          <p:nvSpPr>
            <p:cNvPr id="20" name="Freeform 70"/>
            <p:cNvSpPr>
              <a:spLocks/>
            </p:cNvSpPr>
            <p:nvPr/>
          </p:nvSpPr>
          <p:spPr bwMode="auto">
            <a:xfrm>
              <a:off x="8915400" y="4846638"/>
              <a:ext cx="85725" cy="114300"/>
            </a:xfrm>
            <a:custGeom>
              <a:avLst/>
              <a:gdLst>
                <a:gd name="T0" fmla="*/ 337 w 597"/>
                <a:gd name="T1" fmla="*/ 2 h 793"/>
                <a:gd name="T2" fmla="*/ 386 w 597"/>
                <a:gd name="T3" fmla="*/ 13 h 793"/>
                <a:gd name="T4" fmla="*/ 424 w 597"/>
                <a:gd name="T5" fmla="*/ 31 h 793"/>
                <a:gd name="T6" fmla="*/ 460 w 597"/>
                <a:gd name="T7" fmla="*/ 56 h 793"/>
                <a:gd name="T8" fmla="*/ 482 w 597"/>
                <a:gd name="T9" fmla="*/ 79 h 793"/>
                <a:gd name="T10" fmla="*/ 493 w 597"/>
                <a:gd name="T11" fmla="*/ 94 h 793"/>
                <a:gd name="T12" fmla="*/ 495 w 597"/>
                <a:gd name="T13" fmla="*/ 96 h 793"/>
                <a:gd name="T14" fmla="*/ 503 w 597"/>
                <a:gd name="T15" fmla="*/ 98 h 793"/>
                <a:gd name="T16" fmla="*/ 517 w 597"/>
                <a:gd name="T17" fmla="*/ 104 h 793"/>
                <a:gd name="T18" fmla="*/ 534 w 597"/>
                <a:gd name="T19" fmla="*/ 116 h 793"/>
                <a:gd name="T20" fmla="*/ 551 w 597"/>
                <a:gd name="T21" fmla="*/ 135 h 793"/>
                <a:gd name="T22" fmla="*/ 566 w 597"/>
                <a:gd name="T23" fmla="*/ 166 h 793"/>
                <a:gd name="T24" fmla="*/ 576 w 597"/>
                <a:gd name="T25" fmla="*/ 210 h 793"/>
                <a:gd name="T26" fmla="*/ 579 w 597"/>
                <a:gd name="T27" fmla="*/ 267 h 793"/>
                <a:gd name="T28" fmla="*/ 571 w 597"/>
                <a:gd name="T29" fmla="*/ 341 h 793"/>
                <a:gd name="T30" fmla="*/ 561 w 597"/>
                <a:gd name="T31" fmla="*/ 379 h 793"/>
                <a:gd name="T32" fmla="*/ 575 w 597"/>
                <a:gd name="T33" fmla="*/ 380 h 793"/>
                <a:gd name="T34" fmla="*/ 587 w 597"/>
                <a:gd name="T35" fmla="*/ 388 h 793"/>
                <a:gd name="T36" fmla="*/ 596 w 597"/>
                <a:gd name="T37" fmla="*/ 405 h 793"/>
                <a:gd name="T38" fmla="*/ 596 w 597"/>
                <a:gd name="T39" fmla="*/ 435 h 793"/>
                <a:gd name="T40" fmla="*/ 587 w 597"/>
                <a:gd name="T41" fmla="*/ 480 h 793"/>
                <a:gd name="T42" fmla="*/ 568 w 597"/>
                <a:gd name="T43" fmla="*/ 532 h 793"/>
                <a:gd name="T44" fmla="*/ 551 w 597"/>
                <a:gd name="T45" fmla="*/ 558 h 793"/>
                <a:gd name="T46" fmla="*/ 536 w 597"/>
                <a:gd name="T47" fmla="*/ 567 h 793"/>
                <a:gd name="T48" fmla="*/ 521 w 597"/>
                <a:gd name="T49" fmla="*/ 622 h 793"/>
                <a:gd name="T50" fmla="*/ 492 w 597"/>
                <a:gd name="T51" fmla="*/ 677 h 793"/>
                <a:gd name="T52" fmla="*/ 449 w 597"/>
                <a:gd name="T53" fmla="*/ 728 h 793"/>
                <a:gd name="T54" fmla="*/ 394 w 597"/>
                <a:gd name="T55" fmla="*/ 768 h 793"/>
                <a:gd name="T56" fmla="*/ 331 w 597"/>
                <a:gd name="T57" fmla="*/ 790 h 793"/>
                <a:gd name="T58" fmla="*/ 266 w 597"/>
                <a:gd name="T59" fmla="*/ 790 h 793"/>
                <a:gd name="T60" fmla="*/ 202 w 597"/>
                <a:gd name="T61" fmla="*/ 768 h 793"/>
                <a:gd name="T62" fmla="*/ 147 w 597"/>
                <a:gd name="T63" fmla="*/ 728 h 793"/>
                <a:gd name="T64" fmla="*/ 105 w 597"/>
                <a:gd name="T65" fmla="*/ 677 h 793"/>
                <a:gd name="T66" fmla="*/ 76 w 597"/>
                <a:gd name="T67" fmla="*/ 622 h 793"/>
                <a:gd name="T68" fmla="*/ 60 w 597"/>
                <a:gd name="T69" fmla="*/ 567 h 793"/>
                <a:gd name="T70" fmla="*/ 46 w 597"/>
                <a:gd name="T71" fmla="*/ 558 h 793"/>
                <a:gd name="T72" fmla="*/ 29 w 597"/>
                <a:gd name="T73" fmla="*/ 532 h 793"/>
                <a:gd name="T74" fmla="*/ 11 w 597"/>
                <a:gd name="T75" fmla="*/ 480 h 793"/>
                <a:gd name="T76" fmla="*/ 1 w 597"/>
                <a:gd name="T77" fmla="*/ 434 h 793"/>
                <a:gd name="T78" fmla="*/ 1 w 597"/>
                <a:gd name="T79" fmla="*/ 404 h 793"/>
                <a:gd name="T80" fmla="*/ 10 w 597"/>
                <a:gd name="T81" fmla="*/ 387 h 793"/>
                <a:gd name="T82" fmla="*/ 21 w 597"/>
                <a:gd name="T83" fmla="*/ 378 h 793"/>
                <a:gd name="T84" fmla="*/ 36 w 597"/>
                <a:gd name="T85" fmla="*/ 377 h 793"/>
                <a:gd name="T86" fmla="*/ 25 w 597"/>
                <a:gd name="T87" fmla="*/ 340 h 793"/>
                <a:gd name="T88" fmla="*/ 18 w 597"/>
                <a:gd name="T89" fmla="*/ 278 h 793"/>
                <a:gd name="T90" fmla="*/ 25 w 597"/>
                <a:gd name="T91" fmla="*/ 220 h 793"/>
                <a:gd name="T92" fmla="*/ 46 w 597"/>
                <a:gd name="T93" fmla="*/ 164 h 793"/>
                <a:gd name="T94" fmla="*/ 77 w 597"/>
                <a:gd name="T95" fmla="*/ 116 h 793"/>
                <a:gd name="T96" fmla="*/ 116 w 597"/>
                <a:gd name="T97" fmla="*/ 77 h 793"/>
                <a:gd name="T98" fmla="*/ 160 w 597"/>
                <a:gd name="T99" fmla="*/ 43 h 793"/>
                <a:gd name="T100" fmla="*/ 223 w 597"/>
                <a:gd name="T101" fmla="*/ 11 h 793"/>
                <a:gd name="T102" fmla="*/ 280 w 597"/>
                <a:gd name="T103" fmla="*/ 1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7" h="793">
                  <a:moveTo>
                    <a:pt x="309" y="0"/>
                  </a:moveTo>
                  <a:lnTo>
                    <a:pt x="337" y="2"/>
                  </a:lnTo>
                  <a:lnTo>
                    <a:pt x="362" y="6"/>
                  </a:lnTo>
                  <a:lnTo>
                    <a:pt x="386" y="13"/>
                  </a:lnTo>
                  <a:lnTo>
                    <a:pt x="406" y="22"/>
                  </a:lnTo>
                  <a:lnTo>
                    <a:pt x="424" y="31"/>
                  </a:lnTo>
                  <a:lnTo>
                    <a:pt x="444" y="43"/>
                  </a:lnTo>
                  <a:lnTo>
                    <a:pt x="460" y="56"/>
                  </a:lnTo>
                  <a:lnTo>
                    <a:pt x="473" y="69"/>
                  </a:lnTo>
                  <a:lnTo>
                    <a:pt x="482" y="79"/>
                  </a:lnTo>
                  <a:lnTo>
                    <a:pt x="489" y="88"/>
                  </a:lnTo>
                  <a:lnTo>
                    <a:pt x="493" y="94"/>
                  </a:lnTo>
                  <a:lnTo>
                    <a:pt x="494" y="96"/>
                  </a:lnTo>
                  <a:lnTo>
                    <a:pt x="495" y="96"/>
                  </a:lnTo>
                  <a:lnTo>
                    <a:pt x="498" y="97"/>
                  </a:lnTo>
                  <a:lnTo>
                    <a:pt x="503" y="98"/>
                  </a:lnTo>
                  <a:lnTo>
                    <a:pt x="510" y="100"/>
                  </a:lnTo>
                  <a:lnTo>
                    <a:pt x="517" y="104"/>
                  </a:lnTo>
                  <a:lnTo>
                    <a:pt x="526" y="109"/>
                  </a:lnTo>
                  <a:lnTo>
                    <a:pt x="534" y="116"/>
                  </a:lnTo>
                  <a:lnTo>
                    <a:pt x="543" y="125"/>
                  </a:lnTo>
                  <a:lnTo>
                    <a:pt x="551" y="135"/>
                  </a:lnTo>
                  <a:lnTo>
                    <a:pt x="560" y="149"/>
                  </a:lnTo>
                  <a:lnTo>
                    <a:pt x="566" y="166"/>
                  </a:lnTo>
                  <a:lnTo>
                    <a:pt x="572" y="186"/>
                  </a:lnTo>
                  <a:lnTo>
                    <a:pt x="576" y="210"/>
                  </a:lnTo>
                  <a:lnTo>
                    <a:pt x="579" y="236"/>
                  </a:lnTo>
                  <a:lnTo>
                    <a:pt x="579" y="267"/>
                  </a:lnTo>
                  <a:lnTo>
                    <a:pt x="576" y="302"/>
                  </a:lnTo>
                  <a:lnTo>
                    <a:pt x="571" y="341"/>
                  </a:lnTo>
                  <a:lnTo>
                    <a:pt x="567" y="360"/>
                  </a:lnTo>
                  <a:lnTo>
                    <a:pt x="561" y="379"/>
                  </a:lnTo>
                  <a:lnTo>
                    <a:pt x="568" y="379"/>
                  </a:lnTo>
                  <a:lnTo>
                    <a:pt x="575" y="380"/>
                  </a:lnTo>
                  <a:lnTo>
                    <a:pt x="582" y="382"/>
                  </a:lnTo>
                  <a:lnTo>
                    <a:pt x="587" y="388"/>
                  </a:lnTo>
                  <a:lnTo>
                    <a:pt x="592" y="395"/>
                  </a:lnTo>
                  <a:lnTo>
                    <a:pt x="596" y="405"/>
                  </a:lnTo>
                  <a:lnTo>
                    <a:pt x="597" y="418"/>
                  </a:lnTo>
                  <a:lnTo>
                    <a:pt x="596" y="435"/>
                  </a:lnTo>
                  <a:lnTo>
                    <a:pt x="592" y="455"/>
                  </a:lnTo>
                  <a:lnTo>
                    <a:pt x="587" y="480"/>
                  </a:lnTo>
                  <a:lnTo>
                    <a:pt x="578" y="510"/>
                  </a:lnTo>
                  <a:lnTo>
                    <a:pt x="568" y="532"/>
                  </a:lnTo>
                  <a:lnTo>
                    <a:pt x="560" y="548"/>
                  </a:lnTo>
                  <a:lnTo>
                    <a:pt x="551" y="558"/>
                  </a:lnTo>
                  <a:lnTo>
                    <a:pt x="544" y="565"/>
                  </a:lnTo>
                  <a:lnTo>
                    <a:pt x="536" y="567"/>
                  </a:lnTo>
                  <a:lnTo>
                    <a:pt x="531" y="593"/>
                  </a:lnTo>
                  <a:lnTo>
                    <a:pt x="521" y="622"/>
                  </a:lnTo>
                  <a:lnTo>
                    <a:pt x="509" y="649"/>
                  </a:lnTo>
                  <a:lnTo>
                    <a:pt x="492" y="677"/>
                  </a:lnTo>
                  <a:lnTo>
                    <a:pt x="472" y="704"/>
                  </a:lnTo>
                  <a:lnTo>
                    <a:pt x="449" y="728"/>
                  </a:lnTo>
                  <a:lnTo>
                    <a:pt x="423" y="750"/>
                  </a:lnTo>
                  <a:lnTo>
                    <a:pt x="394" y="768"/>
                  </a:lnTo>
                  <a:lnTo>
                    <a:pt x="362" y="782"/>
                  </a:lnTo>
                  <a:lnTo>
                    <a:pt x="331" y="790"/>
                  </a:lnTo>
                  <a:lnTo>
                    <a:pt x="299" y="793"/>
                  </a:lnTo>
                  <a:lnTo>
                    <a:pt x="266" y="790"/>
                  </a:lnTo>
                  <a:lnTo>
                    <a:pt x="235" y="782"/>
                  </a:lnTo>
                  <a:lnTo>
                    <a:pt x="202" y="768"/>
                  </a:lnTo>
                  <a:lnTo>
                    <a:pt x="174" y="750"/>
                  </a:lnTo>
                  <a:lnTo>
                    <a:pt x="147" y="728"/>
                  </a:lnTo>
                  <a:lnTo>
                    <a:pt x="125" y="704"/>
                  </a:lnTo>
                  <a:lnTo>
                    <a:pt x="105" y="677"/>
                  </a:lnTo>
                  <a:lnTo>
                    <a:pt x="89" y="649"/>
                  </a:lnTo>
                  <a:lnTo>
                    <a:pt x="76" y="622"/>
                  </a:lnTo>
                  <a:lnTo>
                    <a:pt x="67" y="593"/>
                  </a:lnTo>
                  <a:lnTo>
                    <a:pt x="60" y="567"/>
                  </a:lnTo>
                  <a:lnTo>
                    <a:pt x="53" y="565"/>
                  </a:lnTo>
                  <a:lnTo>
                    <a:pt x="46" y="558"/>
                  </a:lnTo>
                  <a:lnTo>
                    <a:pt x="37" y="548"/>
                  </a:lnTo>
                  <a:lnTo>
                    <a:pt x="29" y="532"/>
                  </a:lnTo>
                  <a:lnTo>
                    <a:pt x="20" y="510"/>
                  </a:lnTo>
                  <a:lnTo>
                    <a:pt x="11" y="480"/>
                  </a:lnTo>
                  <a:lnTo>
                    <a:pt x="4" y="455"/>
                  </a:lnTo>
                  <a:lnTo>
                    <a:pt x="1" y="434"/>
                  </a:lnTo>
                  <a:lnTo>
                    <a:pt x="0" y="417"/>
                  </a:lnTo>
                  <a:lnTo>
                    <a:pt x="1" y="404"/>
                  </a:lnTo>
                  <a:lnTo>
                    <a:pt x="4" y="394"/>
                  </a:lnTo>
                  <a:lnTo>
                    <a:pt x="10" y="387"/>
                  </a:lnTo>
                  <a:lnTo>
                    <a:pt x="15" y="381"/>
                  </a:lnTo>
                  <a:lnTo>
                    <a:pt x="21" y="378"/>
                  </a:lnTo>
                  <a:lnTo>
                    <a:pt x="29" y="377"/>
                  </a:lnTo>
                  <a:lnTo>
                    <a:pt x="36" y="377"/>
                  </a:lnTo>
                  <a:lnTo>
                    <a:pt x="30" y="358"/>
                  </a:lnTo>
                  <a:lnTo>
                    <a:pt x="25" y="340"/>
                  </a:lnTo>
                  <a:lnTo>
                    <a:pt x="20" y="308"/>
                  </a:lnTo>
                  <a:lnTo>
                    <a:pt x="18" y="278"/>
                  </a:lnTo>
                  <a:lnTo>
                    <a:pt x="20" y="249"/>
                  </a:lnTo>
                  <a:lnTo>
                    <a:pt x="25" y="220"/>
                  </a:lnTo>
                  <a:lnTo>
                    <a:pt x="34" y="190"/>
                  </a:lnTo>
                  <a:lnTo>
                    <a:pt x="46" y="164"/>
                  </a:lnTo>
                  <a:lnTo>
                    <a:pt x="60" y="139"/>
                  </a:lnTo>
                  <a:lnTo>
                    <a:pt x="77" y="116"/>
                  </a:lnTo>
                  <a:lnTo>
                    <a:pt x="95" y="97"/>
                  </a:lnTo>
                  <a:lnTo>
                    <a:pt x="116" y="77"/>
                  </a:lnTo>
                  <a:lnTo>
                    <a:pt x="137" y="59"/>
                  </a:lnTo>
                  <a:lnTo>
                    <a:pt x="160" y="43"/>
                  </a:lnTo>
                  <a:lnTo>
                    <a:pt x="190" y="25"/>
                  </a:lnTo>
                  <a:lnTo>
                    <a:pt x="223" y="11"/>
                  </a:lnTo>
                  <a:lnTo>
                    <a:pt x="250" y="4"/>
                  </a:lnTo>
                  <a:lnTo>
                    <a:pt x="280" y="1"/>
                  </a:lnTo>
                  <a:lnTo>
                    <a:pt x="309" y="0"/>
                  </a:lnTo>
                  <a:close/>
                </a:path>
              </a:pathLst>
            </a:custGeom>
            <a:grp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IN">
                <a:solidFill>
                  <a:srgbClr val="00B0F0"/>
                </a:solidFill>
              </a:endParaRPr>
            </a:p>
          </p:txBody>
        </p:sp>
      </p:grpSp>
      <p:sp>
        <p:nvSpPr>
          <p:cNvPr id="22" name="Rectangle 21"/>
          <p:cNvSpPr/>
          <p:nvPr/>
        </p:nvSpPr>
        <p:spPr>
          <a:xfrm>
            <a:off x="1054359" y="4966239"/>
            <a:ext cx="8648442" cy="2032127"/>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Tree>
    <p:extLst>
      <p:ext uri="{BB962C8B-B14F-4D97-AF65-F5344CB8AC3E}">
        <p14:creationId xmlns:p14="http://schemas.microsoft.com/office/powerpoint/2010/main" val="3463508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Diagonal Corner Rectangle 5"/>
          <p:cNvSpPr/>
          <p:nvPr/>
        </p:nvSpPr>
        <p:spPr>
          <a:xfrm>
            <a:off x="175364" y="1146070"/>
            <a:ext cx="9619989" cy="4252648"/>
          </a:xfrm>
          <a:prstGeom prst="round2DiagRect">
            <a:avLst/>
          </a:prstGeom>
          <a:solidFill>
            <a:srgbClr val="DFDFD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smtClean="0"/>
          </a:p>
        </p:txBody>
      </p:sp>
      <p:sp>
        <p:nvSpPr>
          <p:cNvPr id="2" name="Title 1"/>
          <p:cNvSpPr>
            <a:spLocks noGrp="1"/>
          </p:cNvSpPr>
          <p:nvPr>
            <p:ph type="title"/>
          </p:nvPr>
        </p:nvSpPr>
        <p:spPr/>
        <p:txBody>
          <a:bodyPr/>
          <a:lstStyle/>
          <a:p>
            <a:r>
              <a:rPr lang="en-GB" dirty="0" smtClean="0"/>
              <a:t>Programas de colaboración Universidad - Empresa</a:t>
            </a:r>
            <a:endParaRPr lang="en-US" dirty="0"/>
          </a:p>
        </p:txBody>
      </p:sp>
      <p:sp>
        <p:nvSpPr>
          <p:cNvPr id="4" name="AutoShape 2" descr="Resultado de imagen de LINE DRAWING collaboration"/>
          <p:cNvSpPr>
            <a:spLocks noChangeAspect="1" noChangeArrowheads="1"/>
          </p:cNvSpPr>
          <p:nvPr/>
        </p:nvSpPr>
        <p:spPr bwMode="auto">
          <a:xfrm>
            <a:off x="1260475" y="389810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Content Placeholder 2"/>
          <p:cNvSpPr txBox="1">
            <a:spLocks/>
          </p:cNvSpPr>
          <p:nvPr/>
        </p:nvSpPr>
        <p:spPr bwMode="gray">
          <a:xfrm>
            <a:off x="342900" y="1509386"/>
            <a:ext cx="9226985" cy="3400816"/>
          </a:xfrm>
          <a:prstGeom prst="rect">
            <a:avLst/>
          </a:prstGeom>
        </p:spPr>
        <p:txBody>
          <a:bodyPr vert="horz" lIns="0" tIns="0" rIns="0" bIns="0" rtlCol="0">
            <a:noAutofit/>
          </a:bodyPr>
          <a:lstStyle>
            <a:lvl1pPr marL="0" indent="0" algn="l" defTabSz="1003960" rtl="0" eaLnBrk="1" latinLnBrk="0" hangingPunct="1">
              <a:lnSpc>
                <a:spcPct val="105000"/>
              </a:lnSpc>
              <a:spcBef>
                <a:spcPts val="1800"/>
              </a:spcBef>
              <a:buFont typeface="Arial" pitchFamily="34" charset="0"/>
              <a:buNone/>
              <a:tabLst>
                <a:tab pos="9348307" algn="r"/>
              </a:tabLst>
              <a:defRPr lang="en-US" sz="1200" b="1" kern="1200" dirty="0" smtClean="0">
                <a:solidFill>
                  <a:schemeClr val="tx2"/>
                </a:solidFill>
                <a:latin typeface="+mn-lt"/>
                <a:ea typeface="+mn-ea"/>
                <a:cs typeface="+mn-cs"/>
              </a:defRPr>
            </a:lvl1pPr>
            <a:lvl2pPr marL="0" indent="0" algn="l" defTabSz="1003960" rtl="0" eaLnBrk="1" latinLnBrk="0" hangingPunct="1">
              <a:lnSpc>
                <a:spcPct val="105000"/>
              </a:lnSpc>
              <a:spcBef>
                <a:spcPts val="600"/>
              </a:spcBef>
              <a:buFont typeface="Arial" pitchFamily="34" charset="0"/>
              <a:buNone/>
              <a:tabLst>
                <a:tab pos="9348307" algn="r"/>
              </a:tabLst>
              <a:defRPr lang="en-US" sz="1200" kern="1200" dirty="0" smtClean="0">
                <a:solidFill>
                  <a:schemeClr val="tx1"/>
                </a:solidFill>
                <a:latin typeface="+mn-lt"/>
                <a:ea typeface="+mn-ea"/>
                <a:cs typeface="+mn-cs"/>
              </a:defRPr>
            </a:lvl2pPr>
            <a:lvl3pPr marL="360000" indent="-360000" algn="l" defTabSz="1003960" rtl="0" eaLnBrk="1" latinLnBrk="0" hangingPunct="1">
              <a:lnSpc>
                <a:spcPct val="105000"/>
              </a:lnSpc>
              <a:spcBef>
                <a:spcPts val="600"/>
              </a:spcBef>
              <a:buClr>
                <a:schemeClr val="tx2"/>
              </a:buClr>
              <a:buFont typeface="Garamond" pitchFamily="18" charset="0"/>
              <a:buChar char="►"/>
              <a:tabLst>
                <a:tab pos="9348307" algn="r"/>
              </a:tabLst>
              <a:defRPr lang="en-US" sz="1200" kern="1200" dirty="0" smtClean="0">
                <a:solidFill>
                  <a:schemeClr val="tx1"/>
                </a:solidFill>
                <a:latin typeface="+mn-lt"/>
                <a:ea typeface="+mn-ea"/>
                <a:cs typeface="+mn-cs"/>
              </a:defRPr>
            </a:lvl3pPr>
            <a:lvl4pPr marL="720000" indent="-360000" algn="l" defTabSz="1003960" rtl="0" eaLnBrk="1" latinLnBrk="0" hangingPunct="1">
              <a:lnSpc>
                <a:spcPct val="105000"/>
              </a:lnSpc>
              <a:spcBef>
                <a:spcPts val="600"/>
              </a:spcBef>
              <a:buClr>
                <a:schemeClr val="tx2"/>
              </a:buClr>
              <a:buFont typeface="Verdana" pitchFamily="34" charset="0"/>
              <a:buChar char="―"/>
              <a:tabLst>
                <a:tab pos="9348307" algn="r"/>
              </a:tabLst>
              <a:defRPr lang="en-US" sz="1200" kern="1200" dirty="0" smtClean="0">
                <a:solidFill>
                  <a:schemeClr val="tx1"/>
                </a:solidFill>
                <a:latin typeface="+mn-lt"/>
                <a:ea typeface="+mn-ea"/>
                <a:cs typeface="+mn-cs"/>
              </a:defRPr>
            </a:lvl4pPr>
            <a:lvl5pPr marL="1080000" indent="-358756" algn="l" defTabSz="1003960" rtl="0" eaLnBrk="1" latinLnBrk="0" hangingPunct="1">
              <a:lnSpc>
                <a:spcPct val="105000"/>
              </a:lnSpc>
              <a:spcBef>
                <a:spcPts val="600"/>
              </a:spcBef>
              <a:buClr>
                <a:schemeClr val="tx2"/>
              </a:buClr>
              <a:buFont typeface="Verdana" pitchFamily="34" charset="0"/>
              <a:buChar char="―"/>
              <a:tabLst>
                <a:tab pos="9348307" algn="r"/>
              </a:tabLst>
              <a:defRPr lang="en-GB" sz="1200" kern="1200" dirty="0">
                <a:solidFill>
                  <a:schemeClr val="tx1"/>
                </a:solidFill>
                <a:latin typeface="+mn-lt"/>
                <a:ea typeface="+mn-ea"/>
                <a:cs typeface="+mn-cs"/>
              </a:defRPr>
            </a:lvl5pPr>
            <a:lvl6pPr marL="1440000" indent="-358756" algn="l" defTabSz="1003960" rtl="0" eaLnBrk="1" latinLnBrk="0" hangingPunct="1">
              <a:spcBef>
                <a:spcPts val="600"/>
              </a:spcBef>
              <a:buClr>
                <a:schemeClr val="tx2"/>
              </a:buClr>
              <a:buFont typeface="Verdana" pitchFamily="34" charset="0"/>
              <a:buChar char="―"/>
              <a:tabLst>
                <a:tab pos="9348307" algn="r"/>
              </a:tabLst>
              <a:defRPr sz="1200" kern="1200">
                <a:solidFill>
                  <a:schemeClr val="tx1"/>
                </a:solidFill>
                <a:latin typeface="+mn-lt"/>
                <a:ea typeface="+mn-ea"/>
                <a:cs typeface="+mn-cs"/>
              </a:defRPr>
            </a:lvl6pPr>
            <a:lvl7pPr marL="1441244" indent="0" algn="l" defTabSz="1003960" rtl="0" eaLnBrk="1" latinLnBrk="0" hangingPunct="1">
              <a:spcBef>
                <a:spcPts val="600"/>
              </a:spcBef>
              <a:buClr>
                <a:schemeClr val="tx2"/>
              </a:buClr>
              <a:buFont typeface="Verdana" pitchFamily="34" charset="0"/>
              <a:buNone/>
              <a:tabLst>
                <a:tab pos="9348307" algn="r"/>
              </a:tabLst>
              <a:defRPr sz="1200" kern="1200" baseline="0">
                <a:solidFill>
                  <a:schemeClr val="tx1"/>
                </a:solidFill>
                <a:latin typeface="+mn-lt"/>
                <a:ea typeface="+mn-ea"/>
                <a:cs typeface="+mn-cs"/>
              </a:defRPr>
            </a:lvl7pPr>
            <a:lvl8pPr marL="2160000" indent="-360345" algn="l" defTabSz="1003960" rtl="0" eaLnBrk="1" latinLnBrk="0" hangingPunct="1">
              <a:spcBef>
                <a:spcPts val="600"/>
              </a:spcBef>
              <a:buClr>
                <a:schemeClr val="tx2"/>
              </a:buClr>
              <a:buFont typeface="Verdana" pitchFamily="34" charset="0"/>
              <a:buChar char="―"/>
              <a:tabLst>
                <a:tab pos="9348307" algn="r"/>
              </a:tabLst>
              <a:defRPr sz="1200" kern="1200" baseline="0">
                <a:solidFill>
                  <a:schemeClr val="tx1"/>
                </a:solidFill>
                <a:latin typeface="+mn-lt"/>
                <a:ea typeface="+mn-ea"/>
                <a:cs typeface="+mn-cs"/>
              </a:defRPr>
            </a:lvl8pPr>
            <a:lvl9pPr marL="2520000" indent="-358756" algn="l" defTabSz="1003960" rtl="0" eaLnBrk="1" latinLnBrk="0" hangingPunct="1">
              <a:spcBef>
                <a:spcPts val="600"/>
              </a:spcBef>
              <a:buClr>
                <a:schemeClr val="tx2"/>
              </a:buClr>
              <a:buFont typeface="Verdana" pitchFamily="34" charset="0"/>
              <a:buChar char="―"/>
              <a:tabLst>
                <a:tab pos="9348307" algn="r"/>
              </a:tabLst>
              <a:defRPr sz="1200" kern="1200">
                <a:solidFill>
                  <a:schemeClr val="tx1"/>
                </a:solidFill>
                <a:latin typeface="+mn-lt"/>
                <a:ea typeface="+mn-ea"/>
                <a:cs typeface="+mn-cs"/>
              </a:defRPr>
            </a:lvl9pPr>
          </a:lstStyle>
          <a:p>
            <a:pPr algn="just" fontAlgn="base"/>
            <a:r>
              <a:rPr lang="es-ES" sz="1400" b="0" dirty="0">
                <a:solidFill>
                  <a:schemeClr val="tx1">
                    <a:lumMod val="65000"/>
                    <a:lumOff val="35000"/>
                  </a:schemeClr>
                </a:solidFill>
              </a:rPr>
              <a:t>Los estudios en el ámbito internacional destacan dos características comunes a todas las iniciativas y programas de éxito de colaboración entre universidad y empresa para mejorar la empleabilidad de los graduado</a:t>
            </a:r>
            <a:r>
              <a:rPr lang="es-ES" sz="1400" b="0" dirty="0" smtClean="0">
                <a:solidFill>
                  <a:schemeClr val="tx1">
                    <a:lumMod val="65000"/>
                    <a:lumOff val="35000"/>
                  </a:schemeClr>
                </a:solidFill>
              </a:rPr>
              <a:t>:</a:t>
            </a:r>
          </a:p>
          <a:p>
            <a:pPr algn="just" fontAlgn="base"/>
            <a:endParaRPr lang="en-US" sz="1400" b="0" dirty="0">
              <a:solidFill>
                <a:schemeClr val="tx1">
                  <a:lumMod val="65000"/>
                  <a:lumOff val="35000"/>
                </a:schemeClr>
              </a:solidFill>
            </a:endParaRPr>
          </a:p>
          <a:p>
            <a:pPr marL="645750" lvl="2" indent="-285750" algn="just" fontAlgn="base">
              <a:buFont typeface="Wingdings" panose="05000000000000000000" pitchFamily="2" charset="2"/>
              <a:buChar char="ü"/>
            </a:pPr>
            <a:r>
              <a:rPr lang="es-ES" sz="1400" b="1" dirty="0">
                <a:solidFill>
                  <a:schemeClr val="tx1">
                    <a:lumMod val="65000"/>
                    <a:lumOff val="35000"/>
                  </a:schemeClr>
                </a:solidFill>
              </a:rPr>
              <a:t>Estrecha colaboración entre universidad y empresa. </a:t>
            </a:r>
            <a:r>
              <a:rPr lang="es-ES" sz="1400" dirty="0">
                <a:solidFill>
                  <a:schemeClr val="tx1">
                    <a:lumMod val="65000"/>
                    <a:lumOff val="35000"/>
                  </a:schemeClr>
                </a:solidFill>
              </a:rPr>
              <a:t>Universidades y empresas no separan sus ámbitos de actuación, sino que trabajan conjuntamente y sin crear fronteras en las esferas de actuación de cada organización.</a:t>
            </a:r>
          </a:p>
          <a:p>
            <a:pPr marL="645750" lvl="2" indent="-285750" algn="just" fontAlgn="base">
              <a:buFont typeface="Wingdings" panose="05000000000000000000" pitchFamily="2" charset="2"/>
              <a:buChar char="ü"/>
            </a:pPr>
            <a:endParaRPr lang="en-US" sz="1400" dirty="0">
              <a:solidFill>
                <a:schemeClr val="tx1">
                  <a:lumMod val="65000"/>
                  <a:lumOff val="35000"/>
                </a:schemeClr>
              </a:solidFill>
            </a:endParaRPr>
          </a:p>
          <a:p>
            <a:pPr marL="645750" lvl="2" indent="-285750" algn="just" fontAlgn="base">
              <a:buFont typeface="Wingdings" panose="05000000000000000000" pitchFamily="2" charset="2"/>
              <a:buChar char="ü"/>
            </a:pPr>
            <a:r>
              <a:rPr lang="es-ES" sz="1400" b="1" dirty="0">
                <a:solidFill>
                  <a:schemeClr val="tx1">
                    <a:lumMod val="65000"/>
                    <a:lumOff val="35000"/>
                  </a:schemeClr>
                </a:solidFill>
              </a:rPr>
              <a:t>Colaboración entre universidad y empresa en todo el proceso. </a:t>
            </a:r>
            <a:r>
              <a:rPr lang="es-ES" sz="1400" dirty="0">
                <a:solidFill>
                  <a:schemeClr val="tx1">
                    <a:lumMod val="65000"/>
                    <a:lumOff val="35000"/>
                  </a:schemeClr>
                </a:solidFill>
              </a:rPr>
              <a:t>La colaboración entre universidad y empresa empieza desde el momento en el que los estudiantes tienen que elegir los estudios hasta la transición al mercado de trabajo. La colaboración debe cubrir todo el período de formación e inserción laboral de los jóvenes, y no solamente el momento del paso de la universidad al mercado de trabajo</a:t>
            </a:r>
            <a:r>
              <a:rPr lang="es-ES" sz="1400" dirty="0" smtClean="0">
                <a:solidFill>
                  <a:schemeClr val="tx1">
                    <a:lumMod val="65000"/>
                    <a:lumOff val="35000"/>
                  </a:schemeClr>
                </a:solidFill>
              </a:rPr>
              <a:t>.</a:t>
            </a:r>
            <a:endParaRPr lang="en-US" sz="1400" dirty="0"/>
          </a:p>
        </p:txBody>
      </p:sp>
    </p:spTree>
    <p:extLst>
      <p:ext uri="{BB962C8B-B14F-4D97-AF65-F5344CB8AC3E}">
        <p14:creationId xmlns:p14="http://schemas.microsoft.com/office/powerpoint/2010/main" val="39980943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reve reseña de Heidrick </a:t>
            </a:r>
            <a:r>
              <a:rPr lang="en-GB" dirty="0"/>
              <a:t>&amp; Struggles</a:t>
            </a:r>
          </a:p>
        </p:txBody>
      </p:sp>
      <p:sp>
        <p:nvSpPr>
          <p:cNvPr id="24" name="TextBox 23"/>
          <p:cNvSpPr txBox="1"/>
          <p:nvPr/>
        </p:nvSpPr>
        <p:spPr>
          <a:xfrm>
            <a:off x="378572" y="2202763"/>
            <a:ext cx="6984206" cy="553998"/>
          </a:xfrm>
          <a:prstGeom prst="rect">
            <a:avLst/>
          </a:prstGeom>
          <a:noFill/>
        </p:spPr>
        <p:txBody>
          <a:bodyPr wrap="square" lIns="0" tIns="0" rIns="0" bIns="0" rtlCol="0">
            <a:spAutoFit/>
          </a:bodyPr>
          <a:lstStyle/>
          <a:p>
            <a:r>
              <a:rPr lang="es-ES_tradnl" sz="1200" dirty="0" smtClean="0">
                <a:solidFill>
                  <a:schemeClr val="tx1">
                    <a:lumMod val="75000"/>
                    <a:lumOff val="25000"/>
                  </a:schemeClr>
                </a:solidFill>
              </a:rPr>
              <a:t>Nuestro foco en Liderazgo, una combinación de servicios de </a:t>
            </a:r>
            <a:r>
              <a:rPr lang="es-ES_tradnl" sz="1200" b="1" dirty="0" smtClean="0">
                <a:solidFill>
                  <a:schemeClr val="tx1">
                    <a:lumMod val="75000"/>
                    <a:lumOff val="25000"/>
                  </a:schemeClr>
                </a:solidFill>
              </a:rPr>
              <a:t>selección</a:t>
            </a:r>
            <a:r>
              <a:rPr lang="es-ES_tradnl" sz="1200" dirty="0" smtClean="0">
                <a:solidFill>
                  <a:schemeClr val="tx1">
                    <a:lumMod val="75000"/>
                    <a:lumOff val="25000"/>
                  </a:schemeClr>
                </a:solidFill>
              </a:rPr>
              <a:t> y </a:t>
            </a:r>
            <a:r>
              <a:rPr lang="es-ES_tradnl" sz="1200" b="1" dirty="0" smtClean="0">
                <a:solidFill>
                  <a:schemeClr val="tx1">
                    <a:lumMod val="75000"/>
                    <a:lumOff val="25000"/>
                  </a:schemeClr>
                </a:solidFill>
              </a:rPr>
              <a:t>consultoría</a:t>
            </a:r>
            <a:r>
              <a:rPr lang="es-ES_tradnl" sz="1200" dirty="0" smtClean="0">
                <a:solidFill>
                  <a:schemeClr val="tx1">
                    <a:lumMod val="75000"/>
                    <a:lumOff val="25000"/>
                  </a:schemeClr>
                </a:solidFill>
              </a:rPr>
              <a:t>, </a:t>
            </a:r>
            <a:br>
              <a:rPr lang="es-ES_tradnl" sz="1200" dirty="0" smtClean="0">
                <a:solidFill>
                  <a:schemeClr val="tx1">
                    <a:lumMod val="75000"/>
                    <a:lumOff val="25000"/>
                  </a:schemeClr>
                </a:solidFill>
              </a:rPr>
            </a:br>
            <a:r>
              <a:rPr lang="es-ES_tradnl" sz="1200" dirty="0" smtClean="0">
                <a:solidFill>
                  <a:schemeClr val="tx1">
                    <a:lumMod val="75000"/>
                    <a:lumOff val="25000"/>
                  </a:schemeClr>
                </a:solidFill>
              </a:rPr>
              <a:t>ayuda a nuestros clientes a desafiar los retos inherentes al liderazgo a través de determinar:</a:t>
            </a:r>
            <a:endParaRPr lang="es-ES_tradnl" sz="1200" dirty="0">
              <a:solidFill>
                <a:schemeClr val="tx1">
                  <a:lumMod val="75000"/>
                  <a:lumOff val="25000"/>
                </a:schemeClr>
              </a:solidFill>
            </a:endParaRPr>
          </a:p>
        </p:txBody>
      </p:sp>
      <p:sp>
        <p:nvSpPr>
          <p:cNvPr id="36" name="TextBox 35"/>
          <p:cNvSpPr txBox="1"/>
          <p:nvPr/>
        </p:nvSpPr>
        <p:spPr>
          <a:xfrm>
            <a:off x="804182" y="4285093"/>
            <a:ext cx="6165850" cy="461665"/>
          </a:xfrm>
          <a:prstGeom prst="rect">
            <a:avLst/>
          </a:prstGeom>
          <a:noFill/>
        </p:spPr>
        <p:txBody>
          <a:bodyPr wrap="square" lIns="0" tIns="0" rIns="0" bIns="0" rtlCol="0">
            <a:spAutoFit/>
          </a:bodyPr>
          <a:lstStyle/>
          <a:p>
            <a:r>
              <a:rPr lang="es-ES" sz="1000" b="1" dirty="0" smtClean="0">
                <a:solidFill>
                  <a:schemeClr val="tx1">
                    <a:lumMod val="75000"/>
                    <a:lumOff val="25000"/>
                  </a:schemeClr>
                </a:solidFill>
              </a:rPr>
              <a:t>Nuestro </a:t>
            </a:r>
            <a:r>
              <a:rPr lang="es-ES" sz="1000" b="1" dirty="0">
                <a:solidFill>
                  <a:schemeClr val="tx1">
                    <a:lumMod val="75000"/>
                    <a:lumOff val="25000"/>
                  </a:schemeClr>
                </a:solidFill>
              </a:rPr>
              <a:t>acceso a </a:t>
            </a:r>
            <a:r>
              <a:rPr lang="es-ES" sz="1000" b="1" dirty="0" smtClean="0">
                <a:solidFill>
                  <a:schemeClr val="tx1">
                    <a:lumMod val="75000"/>
                    <a:lumOff val="25000"/>
                  </a:schemeClr>
                </a:solidFill>
              </a:rPr>
              <a:t>candidatos en diferentes ubicaciones a nivel  internacional potencia </a:t>
            </a:r>
            <a:r>
              <a:rPr lang="es-ES" sz="1000" b="1" dirty="0">
                <a:solidFill>
                  <a:schemeClr val="tx1">
                    <a:lumMod val="75000"/>
                    <a:lumOff val="25000"/>
                  </a:schemeClr>
                </a:solidFill>
              </a:rPr>
              <a:t>el éxito en los </a:t>
            </a:r>
            <a:r>
              <a:rPr lang="es-ES" sz="1000" b="1" dirty="0" smtClean="0">
                <a:solidFill>
                  <a:schemeClr val="tx1">
                    <a:lumMod val="75000"/>
                    <a:lumOff val="25000"/>
                  </a:schemeClr>
                </a:solidFill>
              </a:rPr>
              <a:t>proyectos de Consejo de Administración, CEO y </a:t>
            </a:r>
            <a:r>
              <a:rPr lang="es-ES" sz="1000" b="1" dirty="0">
                <a:solidFill>
                  <a:schemeClr val="tx1">
                    <a:lumMod val="75000"/>
                    <a:lumOff val="25000"/>
                  </a:schemeClr>
                </a:solidFill>
              </a:rPr>
              <a:t>otras funciones de C-Suite en </a:t>
            </a:r>
            <a:r>
              <a:rPr lang="es-ES" sz="1000" b="1" dirty="0" smtClean="0">
                <a:solidFill>
                  <a:schemeClr val="tx1">
                    <a:lumMod val="75000"/>
                    <a:lumOff val="25000"/>
                  </a:schemeClr>
                </a:solidFill>
              </a:rPr>
              <a:t>las distintas regiones </a:t>
            </a:r>
            <a:r>
              <a:rPr lang="es-ES" sz="1000" b="1" dirty="0">
                <a:solidFill>
                  <a:schemeClr val="tx1">
                    <a:lumMod val="75000"/>
                    <a:lumOff val="25000"/>
                  </a:schemeClr>
                </a:solidFill>
              </a:rPr>
              <a:t>e industrias.</a:t>
            </a:r>
            <a:endParaRPr lang="en-US" sz="1000" b="1" dirty="0">
              <a:solidFill>
                <a:schemeClr val="tx1">
                  <a:lumMod val="75000"/>
                  <a:lumOff val="25000"/>
                </a:schemeClr>
              </a:solidFill>
            </a:endParaRPr>
          </a:p>
        </p:txBody>
      </p:sp>
      <p:grpSp>
        <p:nvGrpSpPr>
          <p:cNvPr id="4" name="Group 3"/>
          <p:cNvGrpSpPr/>
          <p:nvPr/>
        </p:nvGrpSpPr>
        <p:grpSpPr>
          <a:xfrm>
            <a:off x="352232" y="2844933"/>
            <a:ext cx="6552156" cy="1277412"/>
            <a:chOff x="342900" y="2876682"/>
            <a:chExt cx="6552156" cy="1277412"/>
          </a:xfrm>
        </p:grpSpPr>
        <p:sp>
          <p:nvSpPr>
            <p:cNvPr id="27" name="TextBox 26"/>
            <p:cNvSpPr txBox="1"/>
            <p:nvPr/>
          </p:nvSpPr>
          <p:spPr>
            <a:xfrm>
              <a:off x="342900" y="2876682"/>
              <a:ext cx="2083249" cy="769721"/>
            </a:xfrm>
            <a:prstGeom prst="rect">
              <a:avLst/>
            </a:prstGeom>
            <a:solidFill>
              <a:srgbClr val="8C99AC"/>
            </a:solidFill>
            <a:ln>
              <a:noFill/>
            </a:ln>
          </p:spPr>
          <p:txBody>
            <a:bodyPr wrap="square" lIns="72000" tIns="72000" rIns="72000" bIns="72000" rtlCol="0" anchor="ctr">
              <a:noAutofit/>
            </a:bodyPr>
            <a:lstStyle/>
            <a:p>
              <a:pPr algn="ctr"/>
              <a:r>
                <a:rPr lang="es-ES_tradnl" sz="1000" b="1" dirty="0" smtClean="0">
                  <a:solidFill>
                    <a:schemeClr val="bg1"/>
                  </a:solidFill>
                  <a:ea typeface="Impact" charset="0"/>
                  <a:cs typeface="Impact" charset="0"/>
                </a:rPr>
                <a:t>El liderazgo que tienen en la actualidad</a:t>
              </a:r>
              <a:endParaRPr lang="es-ES_tradnl" sz="1000" b="1" dirty="0">
                <a:solidFill>
                  <a:schemeClr val="bg1"/>
                </a:solidFill>
                <a:ea typeface="Impact" charset="0"/>
                <a:cs typeface="Impact" charset="0"/>
              </a:endParaRPr>
            </a:p>
          </p:txBody>
        </p:sp>
        <p:sp>
          <p:nvSpPr>
            <p:cNvPr id="41" name="TextBox 40"/>
            <p:cNvSpPr txBox="1"/>
            <p:nvPr/>
          </p:nvSpPr>
          <p:spPr>
            <a:xfrm>
              <a:off x="4811807" y="2876682"/>
              <a:ext cx="2083249" cy="769721"/>
            </a:xfrm>
            <a:prstGeom prst="rect">
              <a:avLst/>
            </a:prstGeom>
            <a:solidFill>
              <a:srgbClr val="8C99AC"/>
            </a:solidFill>
            <a:ln>
              <a:noFill/>
            </a:ln>
          </p:spPr>
          <p:txBody>
            <a:bodyPr wrap="square" lIns="72000" tIns="72000" rIns="72000" bIns="72000" rtlCol="0" anchor="ctr">
              <a:noAutofit/>
            </a:bodyPr>
            <a:lstStyle/>
            <a:p>
              <a:pPr algn="ctr"/>
              <a:r>
                <a:rPr lang="es-ES_tradnl" sz="1000" b="1" dirty="0" smtClean="0">
                  <a:solidFill>
                    <a:schemeClr val="bg1"/>
                  </a:solidFill>
                  <a:ea typeface="Impact" charset="0"/>
                  <a:cs typeface="Impact" charset="0"/>
                </a:rPr>
                <a:t>El Liderazgo que necesitan para ejecutar la estrategia futura</a:t>
              </a:r>
              <a:r>
                <a:rPr lang="en-GB" sz="1000" b="1" dirty="0" smtClean="0">
                  <a:solidFill>
                    <a:schemeClr val="bg1"/>
                  </a:solidFill>
                  <a:ea typeface="Impact" charset="0"/>
                  <a:cs typeface="Impact" charset="0"/>
                </a:rPr>
                <a:t>.</a:t>
              </a:r>
              <a:endParaRPr lang="en-GB" sz="1000" b="1" dirty="0">
                <a:solidFill>
                  <a:schemeClr val="bg1"/>
                </a:solidFill>
                <a:ea typeface="Impact" charset="0"/>
                <a:cs typeface="Impact" charset="0"/>
              </a:endParaRPr>
            </a:p>
          </p:txBody>
        </p:sp>
        <p:sp>
          <p:nvSpPr>
            <p:cNvPr id="42" name="TextBox 41"/>
            <p:cNvSpPr txBox="1"/>
            <p:nvPr/>
          </p:nvSpPr>
          <p:spPr>
            <a:xfrm>
              <a:off x="2577354" y="3384373"/>
              <a:ext cx="2006293" cy="769721"/>
            </a:xfrm>
            <a:prstGeom prst="rect">
              <a:avLst/>
            </a:prstGeom>
            <a:solidFill>
              <a:schemeClr val="tx2"/>
            </a:solidFill>
            <a:ln>
              <a:noFill/>
            </a:ln>
          </p:spPr>
          <p:txBody>
            <a:bodyPr wrap="square" lIns="72000" tIns="72000" rIns="72000" bIns="72000" rtlCol="0" anchor="ctr">
              <a:noAutofit/>
            </a:bodyPr>
            <a:lstStyle/>
            <a:p>
              <a:pPr algn="ctr"/>
              <a:r>
                <a:rPr lang="es-ES_tradnl" sz="1000" b="1" dirty="0" smtClean="0">
                  <a:solidFill>
                    <a:schemeClr val="bg1"/>
                  </a:solidFill>
                  <a:ea typeface="Impact" charset="0"/>
                  <a:cs typeface="Impact" charset="0"/>
                </a:rPr>
                <a:t>Cerramos el gap entre ambos</a:t>
              </a:r>
              <a:endParaRPr lang="es-ES_tradnl" sz="1000" b="1" dirty="0">
                <a:solidFill>
                  <a:schemeClr val="bg1"/>
                </a:solidFill>
                <a:ea typeface="Impact" charset="0"/>
                <a:cs typeface="Impact" charset="0"/>
              </a:endParaRPr>
            </a:p>
          </p:txBody>
        </p:sp>
        <p:sp>
          <p:nvSpPr>
            <p:cNvPr id="48" name="Left Arrow 47"/>
            <p:cNvSpPr/>
            <p:nvPr/>
          </p:nvSpPr>
          <p:spPr>
            <a:xfrm flipH="1">
              <a:off x="4310751" y="2935172"/>
              <a:ext cx="501280" cy="391153"/>
            </a:xfrm>
            <a:prstGeom prst="leftArrow">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GB" sz="1000" b="1" dirty="0"/>
            </a:p>
          </p:txBody>
        </p:sp>
        <p:sp>
          <p:nvSpPr>
            <p:cNvPr id="23" name="Rectangle 22"/>
            <p:cNvSpPr/>
            <p:nvPr/>
          </p:nvSpPr>
          <p:spPr>
            <a:xfrm>
              <a:off x="2577353" y="3038293"/>
              <a:ext cx="2006294" cy="190227"/>
            </a:xfrm>
            <a:prstGeom prst="rect">
              <a:avLst/>
            </a:prstGeom>
            <a:solidFill>
              <a:schemeClr val="bg1"/>
            </a:solid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GB" sz="1000" b="1" dirty="0"/>
            </a:p>
          </p:txBody>
        </p:sp>
      </p:grpSp>
      <p:grpSp>
        <p:nvGrpSpPr>
          <p:cNvPr id="16" name="Group 15"/>
          <p:cNvGrpSpPr/>
          <p:nvPr/>
        </p:nvGrpSpPr>
        <p:grpSpPr>
          <a:xfrm>
            <a:off x="7925360" y="3892743"/>
            <a:ext cx="1695332" cy="1165709"/>
            <a:chOff x="7916029" y="3832805"/>
            <a:chExt cx="1695332" cy="1165709"/>
          </a:xfrm>
        </p:grpSpPr>
        <p:sp>
          <p:nvSpPr>
            <p:cNvPr id="39" name="Rectangle 38"/>
            <p:cNvSpPr/>
            <p:nvPr/>
          </p:nvSpPr>
          <p:spPr>
            <a:xfrm>
              <a:off x="8132813" y="3832805"/>
              <a:ext cx="1347450" cy="369332"/>
            </a:xfrm>
            <a:prstGeom prst="rect">
              <a:avLst/>
            </a:prstGeom>
          </p:spPr>
          <p:txBody>
            <a:bodyPr wrap="square" lIns="0" tIns="0" rIns="0" bIns="0">
              <a:spAutoFit/>
            </a:bodyPr>
            <a:lstStyle/>
            <a:p>
              <a:pPr algn="r"/>
              <a:r>
                <a:rPr lang="en-US" sz="2400" dirty="0">
                  <a:solidFill>
                    <a:schemeClr val="tx1">
                      <a:lumMod val="50000"/>
                      <a:lumOff val="50000"/>
                    </a:schemeClr>
                  </a:solidFill>
                  <a:latin typeface="Impact" panose="020B0806030902050204" pitchFamily="34" charset="0"/>
                </a:rPr>
                <a:t>1953</a:t>
              </a:r>
            </a:p>
          </p:txBody>
        </p:sp>
        <p:sp>
          <p:nvSpPr>
            <p:cNvPr id="50" name="Rectangle 49"/>
            <p:cNvSpPr/>
            <p:nvPr/>
          </p:nvSpPr>
          <p:spPr>
            <a:xfrm>
              <a:off x="8135117" y="3983163"/>
              <a:ext cx="678071" cy="138499"/>
            </a:xfrm>
            <a:prstGeom prst="rect">
              <a:avLst/>
            </a:prstGeom>
          </p:spPr>
          <p:txBody>
            <a:bodyPr wrap="none" lIns="0" tIns="0" rIns="0" bIns="0">
              <a:spAutoFit/>
            </a:bodyPr>
            <a:lstStyle/>
            <a:p>
              <a:r>
                <a:rPr lang="en-US" sz="900" dirty="0" smtClean="0">
                  <a:solidFill>
                    <a:schemeClr val="tx1">
                      <a:lumMod val="50000"/>
                      <a:lumOff val="50000"/>
                    </a:schemeClr>
                  </a:solidFill>
                </a:rPr>
                <a:t>Fundada en</a:t>
              </a:r>
              <a:endParaRPr lang="en-US" sz="900" dirty="0">
                <a:solidFill>
                  <a:schemeClr val="tx1">
                    <a:lumMod val="50000"/>
                    <a:lumOff val="50000"/>
                  </a:schemeClr>
                </a:solidFill>
              </a:endParaRPr>
            </a:p>
          </p:txBody>
        </p:sp>
        <p:sp>
          <p:nvSpPr>
            <p:cNvPr id="52" name="Rectangle 51"/>
            <p:cNvSpPr/>
            <p:nvPr/>
          </p:nvSpPr>
          <p:spPr>
            <a:xfrm>
              <a:off x="7916029" y="4259850"/>
              <a:ext cx="1695332" cy="738664"/>
            </a:xfrm>
            <a:prstGeom prst="rect">
              <a:avLst/>
            </a:prstGeom>
          </p:spPr>
          <p:txBody>
            <a:bodyPr wrap="square" lIns="0" tIns="0" rIns="0" bIns="0">
              <a:spAutoFit/>
            </a:bodyPr>
            <a:lstStyle/>
            <a:p>
              <a:r>
                <a:rPr lang="en-US" sz="800" dirty="0" smtClean="0">
                  <a:solidFill>
                    <a:schemeClr val="tx1">
                      <a:lumMod val="50000"/>
                      <a:lumOff val="50000"/>
                    </a:schemeClr>
                  </a:solidFill>
                </a:rPr>
                <a:t>Por </a:t>
              </a:r>
              <a:r>
                <a:rPr lang="en-US" sz="800" b="1" dirty="0" smtClean="0">
                  <a:solidFill>
                    <a:schemeClr val="tx1">
                      <a:lumMod val="50000"/>
                      <a:lumOff val="50000"/>
                    </a:schemeClr>
                  </a:solidFill>
                </a:rPr>
                <a:t>Gardner </a:t>
              </a:r>
              <a:r>
                <a:rPr lang="en-US" sz="800" b="1" dirty="0">
                  <a:solidFill>
                    <a:schemeClr val="tx1">
                      <a:lumMod val="50000"/>
                      <a:lumOff val="50000"/>
                    </a:schemeClr>
                  </a:solidFill>
                </a:rPr>
                <a:t>Heidrick </a:t>
              </a:r>
              <a:r>
                <a:rPr lang="en-US" sz="800" dirty="0" smtClean="0">
                  <a:solidFill>
                    <a:schemeClr val="tx1">
                      <a:lumMod val="50000"/>
                      <a:lumOff val="50000"/>
                    </a:schemeClr>
                  </a:solidFill>
                </a:rPr>
                <a:t>y </a:t>
              </a:r>
              <a:r>
                <a:rPr lang="en-US" sz="800" b="1" dirty="0">
                  <a:solidFill>
                    <a:schemeClr val="tx1">
                      <a:lumMod val="50000"/>
                      <a:lumOff val="50000"/>
                    </a:schemeClr>
                  </a:solidFill>
                </a:rPr>
                <a:t>John Struggles </a:t>
              </a:r>
              <a:r>
                <a:rPr lang="en-US" sz="800" dirty="0" smtClean="0">
                  <a:solidFill>
                    <a:schemeClr val="tx1">
                      <a:lumMod val="50000"/>
                      <a:lumOff val="50000"/>
                    </a:schemeClr>
                  </a:solidFill>
                </a:rPr>
                <a:t>en </a:t>
              </a:r>
              <a:r>
                <a:rPr lang="en-US" sz="800" dirty="0">
                  <a:solidFill>
                    <a:schemeClr val="tx1">
                      <a:lumMod val="50000"/>
                      <a:lumOff val="50000"/>
                    </a:schemeClr>
                  </a:solidFill>
                </a:rPr>
                <a:t>Chicago. </a:t>
              </a:r>
              <a:r>
                <a:rPr lang="en-US" sz="800" dirty="0" smtClean="0">
                  <a:solidFill>
                    <a:schemeClr val="tx1">
                      <a:lumMod val="50000"/>
                      <a:lumOff val="50000"/>
                    </a:schemeClr>
                  </a:solidFill>
                </a:rPr>
                <a:t>Pioneros en especialización por prácticas industriales</a:t>
              </a:r>
              <a:r>
                <a:rPr lang="en-GB" sz="800" dirty="0" smtClean="0">
                  <a:solidFill>
                    <a:schemeClr val="tx1">
                      <a:lumMod val="50000"/>
                      <a:lumOff val="50000"/>
                    </a:schemeClr>
                  </a:solidFill>
                </a:rPr>
                <a:t>, </a:t>
              </a:r>
              <a:r>
                <a:rPr lang="en-GB" sz="800" b="1" dirty="0" smtClean="0">
                  <a:solidFill>
                    <a:srgbClr val="FF0000"/>
                  </a:solidFill>
                </a:rPr>
                <a:t>equity billing</a:t>
              </a:r>
              <a:r>
                <a:rPr lang="en-GB" sz="800" dirty="0" smtClean="0">
                  <a:solidFill>
                    <a:schemeClr val="tx1">
                      <a:lumMod val="50000"/>
                      <a:lumOff val="50000"/>
                    </a:schemeClr>
                  </a:solidFill>
                </a:rPr>
                <a:t>, con presencia en China y otros mercados emergentes</a:t>
              </a:r>
              <a:endParaRPr lang="en-US" sz="800" dirty="0">
                <a:solidFill>
                  <a:schemeClr val="tx1">
                    <a:lumMod val="50000"/>
                    <a:lumOff val="50000"/>
                  </a:schemeClr>
                </a:solidFill>
              </a:endParaRPr>
            </a:p>
          </p:txBody>
        </p:sp>
      </p:grpSp>
      <p:grpSp>
        <p:nvGrpSpPr>
          <p:cNvPr id="17" name="Group 16"/>
          <p:cNvGrpSpPr/>
          <p:nvPr/>
        </p:nvGrpSpPr>
        <p:grpSpPr>
          <a:xfrm>
            <a:off x="7925359" y="5310097"/>
            <a:ext cx="1655637" cy="1836876"/>
            <a:chOff x="7916028" y="5291435"/>
            <a:chExt cx="1655637" cy="1836876"/>
          </a:xfrm>
        </p:grpSpPr>
        <p:grpSp>
          <p:nvGrpSpPr>
            <p:cNvPr id="70" name="Group 69"/>
            <p:cNvGrpSpPr/>
            <p:nvPr/>
          </p:nvGrpSpPr>
          <p:grpSpPr>
            <a:xfrm>
              <a:off x="7916028" y="5503486"/>
              <a:ext cx="820484" cy="399537"/>
              <a:chOff x="4774747" y="2574293"/>
              <a:chExt cx="1331972" cy="648607"/>
            </a:xfrm>
            <a:solidFill>
              <a:schemeClr val="bg1">
                <a:lumMod val="65000"/>
              </a:schemeClr>
            </a:solidFill>
          </p:grpSpPr>
          <p:grpSp>
            <p:nvGrpSpPr>
              <p:cNvPr id="321" name="Group 320"/>
              <p:cNvGrpSpPr/>
              <p:nvPr/>
            </p:nvGrpSpPr>
            <p:grpSpPr>
              <a:xfrm>
                <a:off x="4774747" y="2574293"/>
                <a:ext cx="142875" cy="285750"/>
                <a:chOff x="942975" y="2489200"/>
                <a:chExt cx="142875" cy="285750"/>
              </a:xfrm>
              <a:grpFill/>
            </p:grpSpPr>
            <p:sp>
              <p:nvSpPr>
                <p:cNvPr id="36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6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2" name="Group 321"/>
              <p:cNvGrpSpPr/>
              <p:nvPr/>
            </p:nvGrpSpPr>
            <p:grpSpPr>
              <a:xfrm>
                <a:off x="4944618" y="2574293"/>
                <a:ext cx="142875" cy="285750"/>
                <a:chOff x="942975" y="2489200"/>
                <a:chExt cx="142875" cy="285750"/>
              </a:xfrm>
              <a:grpFill/>
            </p:grpSpPr>
            <p:sp>
              <p:nvSpPr>
                <p:cNvPr id="36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6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3" name="Group 322"/>
              <p:cNvGrpSpPr/>
              <p:nvPr/>
            </p:nvGrpSpPr>
            <p:grpSpPr>
              <a:xfrm>
                <a:off x="5114489" y="2574293"/>
                <a:ext cx="142875" cy="285750"/>
                <a:chOff x="942975" y="2489200"/>
                <a:chExt cx="142875" cy="285750"/>
              </a:xfrm>
              <a:grpFill/>
            </p:grpSpPr>
            <p:sp>
              <p:nvSpPr>
                <p:cNvPr id="36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6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4" name="Group 323"/>
              <p:cNvGrpSpPr/>
              <p:nvPr/>
            </p:nvGrpSpPr>
            <p:grpSpPr>
              <a:xfrm>
                <a:off x="5284360" y="2574293"/>
                <a:ext cx="142875" cy="285750"/>
                <a:chOff x="942975" y="2489200"/>
                <a:chExt cx="142875" cy="285750"/>
              </a:xfrm>
              <a:grpFill/>
            </p:grpSpPr>
            <p:sp>
              <p:nvSpPr>
                <p:cNvPr id="36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6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5" name="Group 324"/>
              <p:cNvGrpSpPr/>
              <p:nvPr/>
            </p:nvGrpSpPr>
            <p:grpSpPr>
              <a:xfrm>
                <a:off x="5454231" y="2574293"/>
                <a:ext cx="142875" cy="285750"/>
                <a:chOff x="942975" y="2489200"/>
                <a:chExt cx="142875" cy="285750"/>
              </a:xfrm>
              <a:grpFill/>
            </p:grpSpPr>
            <p:sp>
              <p:nvSpPr>
                <p:cNvPr id="35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6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6" name="Group 325"/>
              <p:cNvGrpSpPr/>
              <p:nvPr/>
            </p:nvGrpSpPr>
            <p:grpSpPr>
              <a:xfrm>
                <a:off x="5624102" y="2574293"/>
                <a:ext cx="142875" cy="285750"/>
                <a:chOff x="942975" y="2489200"/>
                <a:chExt cx="142875" cy="285750"/>
              </a:xfrm>
              <a:grpFill/>
            </p:grpSpPr>
            <p:sp>
              <p:nvSpPr>
                <p:cNvPr id="35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5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7" name="Group 326"/>
              <p:cNvGrpSpPr/>
              <p:nvPr/>
            </p:nvGrpSpPr>
            <p:grpSpPr>
              <a:xfrm>
                <a:off x="5793973" y="2574293"/>
                <a:ext cx="142875" cy="285750"/>
                <a:chOff x="942975" y="2489200"/>
                <a:chExt cx="142875" cy="285750"/>
              </a:xfrm>
              <a:grpFill/>
            </p:grpSpPr>
            <p:sp>
              <p:nvSpPr>
                <p:cNvPr id="35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5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8" name="Group 327"/>
              <p:cNvGrpSpPr/>
              <p:nvPr/>
            </p:nvGrpSpPr>
            <p:grpSpPr>
              <a:xfrm>
                <a:off x="5963844" y="2574293"/>
                <a:ext cx="142875" cy="285750"/>
                <a:chOff x="942975" y="2489200"/>
                <a:chExt cx="142875" cy="285750"/>
              </a:xfrm>
              <a:grpFill/>
            </p:grpSpPr>
            <p:sp>
              <p:nvSpPr>
                <p:cNvPr id="35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5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29" name="Group 328"/>
              <p:cNvGrpSpPr/>
              <p:nvPr/>
            </p:nvGrpSpPr>
            <p:grpSpPr>
              <a:xfrm>
                <a:off x="4774747" y="2937150"/>
                <a:ext cx="142875" cy="285750"/>
                <a:chOff x="942975" y="2489200"/>
                <a:chExt cx="142875" cy="285750"/>
              </a:xfrm>
              <a:grpFill/>
            </p:grpSpPr>
            <p:sp>
              <p:nvSpPr>
                <p:cNvPr id="35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5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0" name="Group 329"/>
              <p:cNvGrpSpPr/>
              <p:nvPr/>
            </p:nvGrpSpPr>
            <p:grpSpPr>
              <a:xfrm>
                <a:off x="4944618" y="2937150"/>
                <a:ext cx="142875" cy="285750"/>
                <a:chOff x="942975" y="2489200"/>
                <a:chExt cx="142875" cy="285750"/>
              </a:xfrm>
              <a:grpFill/>
            </p:grpSpPr>
            <p:sp>
              <p:nvSpPr>
                <p:cNvPr id="34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5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1" name="Group 330"/>
              <p:cNvGrpSpPr/>
              <p:nvPr/>
            </p:nvGrpSpPr>
            <p:grpSpPr>
              <a:xfrm>
                <a:off x="5114489" y="2937150"/>
                <a:ext cx="142875" cy="285750"/>
                <a:chOff x="942975" y="2489200"/>
                <a:chExt cx="142875" cy="285750"/>
              </a:xfrm>
              <a:grpFill/>
            </p:grpSpPr>
            <p:sp>
              <p:nvSpPr>
                <p:cNvPr id="34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4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2" name="Group 331"/>
              <p:cNvGrpSpPr/>
              <p:nvPr/>
            </p:nvGrpSpPr>
            <p:grpSpPr>
              <a:xfrm>
                <a:off x="5284360" y="2937150"/>
                <a:ext cx="142875" cy="285750"/>
                <a:chOff x="942975" y="2489200"/>
                <a:chExt cx="142875" cy="285750"/>
              </a:xfrm>
              <a:grpFill/>
            </p:grpSpPr>
            <p:sp>
              <p:nvSpPr>
                <p:cNvPr id="34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4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3" name="Group 332"/>
              <p:cNvGrpSpPr/>
              <p:nvPr/>
            </p:nvGrpSpPr>
            <p:grpSpPr>
              <a:xfrm>
                <a:off x="5454231" y="2937150"/>
                <a:ext cx="142875" cy="285750"/>
                <a:chOff x="942975" y="2489200"/>
                <a:chExt cx="142875" cy="285750"/>
              </a:xfrm>
              <a:grpFill/>
            </p:grpSpPr>
            <p:sp>
              <p:nvSpPr>
                <p:cNvPr id="34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4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4" name="Group 333"/>
              <p:cNvGrpSpPr/>
              <p:nvPr/>
            </p:nvGrpSpPr>
            <p:grpSpPr>
              <a:xfrm>
                <a:off x="5624102" y="2937150"/>
                <a:ext cx="142875" cy="285750"/>
                <a:chOff x="942975" y="2489200"/>
                <a:chExt cx="142875" cy="285750"/>
              </a:xfrm>
              <a:grpFill/>
            </p:grpSpPr>
            <p:sp>
              <p:nvSpPr>
                <p:cNvPr id="34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4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5" name="Group 334"/>
              <p:cNvGrpSpPr/>
              <p:nvPr/>
            </p:nvGrpSpPr>
            <p:grpSpPr>
              <a:xfrm>
                <a:off x="5793973" y="2937150"/>
                <a:ext cx="142875" cy="285750"/>
                <a:chOff x="942975" y="2489200"/>
                <a:chExt cx="142875" cy="285750"/>
              </a:xfrm>
              <a:grpFill/>
            </p:grpSpPr>
            <p:sp>
              <p:nvSpPr>
                <p:cNvPr id="33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4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336" name="Group 335"/>
              <p:cNvGrpSpPr/>
              <p:nvPr/>
            </p:nvGrpSpPr>
            <p:grpSpPr>
              <a:xfrm>
                <a:off x="5963844" y="2937150"/>
                <a:ext cx="142875" cy="285750"/>
                <a:chOff x="942975" y="2489200"/>
                <a:chExt cx="142875" cy="285750"/>
              </a:xfrm>
              <a:grpFill/>
            </p:grpSpPr>
            <p:sp>
              <p:nvSpPr>
                <p:cNvPr id="33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3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grpSp>
          <p:nvGrpSpPr>
            <p:cNvPr id="71" name="Group 70"/>
            <p:cNvGrpSpPr/>
            <p:nvPr/>
          </p:nvGrpSpPr>
          <p:grpSpPr>
            <a:xfrm>
              <a:off x="8751181" y="5503486"/>
              <a:ext cx="820484" cy="399537"/>
              <a:chOff x="4774747" y="2574293"/>
              <a:chExt cx="1331972" cy="648607"/>
            </a:xfrm>
            <a:solidFill>
              <a:schemeClr val="bg1">
                <a:lumMod val="65000"/>
              </a:schemeClr>
            </a:solidFill>
          </p:grpSpPr>
          <p:grpSp>
            <p:nvGrpSpPr>
              <p:cNvPr id="273" name="Group 272"/>
              <p:cNvGrpSpPr/>
              <p:nvPr/>
            </p:nvGrpSpPr>
            <p:grpSpPr>
              <a:xfrm>
                <a:off x="4774747" y="2574293"/>
                <a:ext cx="142875" cy="285750"/>
                <a:chOff x="942975" y="2489200"/>
                <a:chExt cx="142875" cy="285750"/>
              </a:xfrm>
              <a:grpFill/>
            </p:grpSpPr>
            <p:sp>
              <p:nvSpPr>
                <p:cNvPr id="31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2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74" name="Group 273"/>
              <p:cNvGrpSpPr/>
              <p:nvPr/>
            </p:nvGrpSpPr>
            <p:grpSpPr>
              <a:xfrm>
                <a:off x="4944618" y="2574293"/>
                <a:ext cx="142875" cy="285750"/>
                <a:chOff x="942975" y="2489200"/>
                <a:chExt cx="142875" cy="285750"/>
              </a:xfrm>
              <a:grpFill/>
            </p:grpSpPr>
            <p:sp>
              <p:nvSpPr>
                <p:cNvPr id="31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1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75" name="Group 274"/>
              <p:cNvGrpSpPr/>
              <p:nvPr/>
            </p:nvGrpSpPr>
            <p:grpSpPr>
              <a:xfrm>
                <a:off x="5114489" y="2574293"/>
                <a:ext cx="142875" cy="285750"/>
                <a:chOff x="942975" y="2489200"/>
                <a:chExt cx="142875" cy="285750"/>
              </a:xfrm>
              <a:grpFill/>
            </p:grpSpPr>
            <p:sp>
              <p:nvSpPr>
                <p:cNvPr id="31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1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76" name="Group 275"/>
              <p:cNvGrpSpPr/>
              <p:nvPr/>
            </p:nvGrpSpPr>
            <p:grpSpPr>
              <a:xfrm>
                <a:off x="5284360" y="2574293"/>
                <a:ext cx="142875" cy="285750"/>
                <a:chOff x="942975" y="2489200"/>
                <a:chExt cx="142875" cy="285750"/>
              </a:xfrm>
              <a:grpFill/>
            </p:grpSpPr>
            <p:sp>
              <p:nvSpPr>
                <p:cNvPr id="31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1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77" name="Group 276"/>
              <p:cNvGrpSpPr/>
              <p:nvPr/>
            </p:nvGrpSpPr>
            <p:grpSpPr>
              <a:xfrm>
                <a:off x="5454231" y="2574293"/>
                <a:ext cx="142875" cy="285750"/>
                <a:chOff x="942975" y="2489200"/>
                <a:chExt cx="142875" cy="285750"/>
              </a:xfrm>
              <a:grpFill/>
            </p:grpSpPr>
            <p:sp>
              <p:nvSpPr>
                <p:cNvPr id="31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1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78" name="Group 277"/>
              <p:cNvGrpSpPr/>
              <p:nvPr/>
            </p:nvGrpSpPr>
            <p:grpSpPr>
              <a:xfrm>
                <a:off x="5624102" y="2574293"/>
                <a:ext cx="142875" cy="285750"/>
                <a:chOff x="942975" y="2489200"/>
                <a:chExt cx="142875" cy="285750"/>
              </a:xfrm>
              <a:grpFill/>
            </p:grpSpPr>
            <p:sp>
              <p:nvSpPr>
                <p:cNvPr id="30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1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79" name="Group 278"/>
              <p:cNvGrpSpPr/>
              <p:nvPr/>
            </p:nvGrpSpPr>
            <p:grpSpPr>
              <a:xfrm>
                <a:off x="5793973" y="2574293"/>
                <a:ext cx="142875" cy="285750"/>
                <a:chOff x="942975" y="2489200"/>
                <a:chExt cx="142875" cy="285750"/>
              </a:xfrm>
              <a:grpFill/>
            </p:grpSpPr>
            <p:sp>
              <p:nvSpPr>
                <p:cNvPr id="30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0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0" name="Group 279"/>
              <p:cNvGrpSpPr/>
              <p:nvPr/>
            </p:nvGrpSpPr>
            <p:grpSpPr>
              <a:xfrm>
                <a:off x="5963844" y="2574293"/>
                <a:ext cx="142875" cy="285750"/>
                <a:chOff x="942975" y="2489200"/>
                <a:chExt cx="142875" cy="285750"/>
              </a:xfrm>
              <a:grpFill/>
            </p:grpSpPr>
            <p:sp>
              <p:nvSpPr>
                <p:cNvPr id="30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0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1" name="Group 280"/>
              <p:cNvGrpSpPr/>
              <p:nvPr/>
            </p:nvGrpSpPr>
            <p:grpSpPr>
              <a:xfrm>
                <a:off x="4774747" y="2937150"/>
                <a:ext cx="142875" cy="285750"/>
                <a:chOff x="942975" y="2489200"/>
                <a:chExt cx="142875" cy="285750"/>
              </a:xfrm>
              <a:grpFill/>
            </p:grpSpPr>
            <p:sp>
              <p:nvSpPr>
                <p:cNvPr id="30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0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2" name="Group 281"/>
              <p:cNvGrpSpPr/>
              <p:nvPr/>
            </p:nvGrpSpPr>
            <p:grpSpPr>
              <a:xfrm>
                <a:off x="4944618" y="2937150"/>
                <a:ext cx="142875" cy="285750"/>
                <a:chOff x="942975" y="2489200"/>
                <a:chExt cx="142875" cy="285750"/>
              </a:xfrm>
              <a:grpFill/>
            </p:grpSpPr>
            <p:sp>
              <p:nvSpPr>
                <p:cNvPr id="30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0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3" name="Group 282"/>
              <p:cNvGrpSpPr/>
              <p:nvPr/>
            </p:nvGrpSpPr>
            <p:grpSpPr>
              <a:xfrm>
                <a:off x="5114489" y="2937150"/>
                <a:ext cx="142875" cy="285750"/>
                <a:chOff x="942975" y="2489200"/>
                <a:chExt cx="142875" cy="285750"/>
              </a:xfrm>
              <a:grpFill/>
            </p:grpSpPr>
            <p:sp>
              <p:nvSpPr>
                <p:cNvPr id="29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30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4" name="Group 283"/>
              <p:cNvGrpSpPr/>
              <p:nvPr/>
            </p:nvGrpSpPr>
            <p:grpSpPr>
              <a:xfrm>
                <a:off x="5284360" y="2937150"/>
                <a:ext cx="142875" cy="285750"/>
                <a:chOff x="942975" y="2489200"/>
                <a:chExt cx="142875" cy="285750"/>
              </a:xfrm>
              <a:grpFill/>
            </p:grpSpPr>
            <p:sp>
              <p:nvSpPr>
                <p:cNvPr id="29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9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5" name="Group 284"/>
              <p:cNvGrpSpPr/>
              <p:nvPr/>
            </p:nvGrpSpPr>
            <p:grpSpPr>
              <a:xfrm>
                <a:off x="5454231" y="2937150"/>
                <a:ext cx="142875" cy="285750"/>
                <a:chOff x="942975" y="2489200"/>
                <a:chExt cx="142875" cy="285750"/>
              </a:xfrm>
              <a:grpFill/>
            </p:grpSpPr>
            <p:sp>
              <p:nvSpPr>
                <p:cNvPr id="29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9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6" name="Group 285"/>
              <p:cNvGrpSpPr/>
              <p:nvPr/>
            </p:nvGrpSpPr>
            <p:grpSpPr>
              <a:xfrm>
                <a:off x="5624102" y="2937150"/>
                <a:ext cx="142875" cy="285750"/>
                <a:chOff x="942975" y="2489200"/>
                <a:chExt cx="142875" cy="285750"/>
              </a:xfrm>
              <a:grpFill/>
            </p:grpSpPr>
            <p:sp>
              <p:nvSpPr>
                <p:cNvPr id="29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9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7" name="Group 286"/>
              <p:cNvGrpSpPr/>
              <p:nvPr/>
            </p:nvGrpSpPr>
            <p:grpSpPr>
              <a:xfrm>
                <a:off x="5793973" y="2937150"/>
                <a:ext cx="142875" cy="285750"/>
                <a:chOff x="942975" y="2489200"/>
                <a:chExt cx="142875" cy="285750"/>
              </a:xfrm>
              <a:grpFill/>
            </p:grpSpPr>
            <p:sp>
              <p:nvSpPr>
                <p:cNvPr id="29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9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88" name="Group 287"/>
              <p:cNvGrpSpPr/>
              <p:nvPr/>
            </p:nvGrpSpPr>
            <p:grpSpPr>
              <a:xfrm>
                <a:off x="5963844" y="2937150"/>
                <a:ext cx="142875" cy="285750"/>
                <a:chOff x="942975" y="2489200"/>
                <a:chExt cx="142875" cy="285750"/>
              </a:xfrm>
              <a:grpFill/>
            </p:grpSpPr>
            <p:sp>
              <p:nvSpPr>
                <p:cNvPr id="28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9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grpSp>
          <p:nvGrpSpPr>
            <p:cNvPr id="72" name="Group 71"/>
            <p:cNvGrpSpPr/>
            <p:nvPr/>
          </p:nvGrpSpPr>
          <p:grpSpPr>
            <a:xfrm>
              <a:off x="7916028" y="5948043"/>
              <a:ext cx="820484" cy="399537"/>
              <a:chOff x="4774747" y="2574293"/>
              <a:chExt cx="1331972" cy="648607"/>
            </a:xfrm>
            <a:solidFill>
              <a:schemeClr val="bg1">
                <a:lumMod val="65000"/>
              </a:schemeClr>
            </a:solidFill>
          </p:grpSpPr>
          <p:grpSp>
            <p:nvGrpSpPr>
              <p:cNvPr id="225" name="Group 224"/>
              <p:cNvGrpSpPr/>
              <p:nvPr/>
            </p:nvGrpSpPr>
            <p:grpSpPr>
              <a:xfrm>
                <a:off x="4774747" y="2574293"/>
                <a:ext cx="142875" cy="285750"/>
                <a:chOff x="942975" y="2489200"/>
                <a:chExt cx="142875" cy="285750"/>
              </a:xfrm>
              <a:grpFill/>
            </p:grpSpPr>
            <p:sp>
              <p:nvSpPr>
                <p:cNvPr id="27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7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26" name="Group 225"/>
              <p:cNvGrpSpPr/>
              <p:nvPr/>
            </p:nvGrpSpPr>
            <p:grpSpPr>
              <a:xfrm>
                <a:off x="4944618" y="2574293"/>
                <a:ext cx="142875" cy="285750"/>
                <a:chOff x="942975" y="2489200"/>
                <a:chExt cx="142875" cy="285750"/>
              </a:xfrm>
              <a:grpFill/>
            </p:grpSpPr>
            <p:sp>
              <p:nvSpPr>
                <p:cNvPr id="26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7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27" name="Group 226"/>
              <p:cNvGrpSpPr/>
              <p:nvPr/>
            </p:nvGrpSpPr>
            <p:grpSpPr>
              <a:xfrm>
                <a:off x="5114489" y="2574293"/>
                <a:ext cx="142875" cy="285750"/>
                <a:chOff x="942975" y="2489200"/>
                <a:chExt cx="142875" cy="285750"/>
              </a:xfrm>
              <a:grpFill/>
            </p:grpSpPr>
            <p:sp>
              <p:nvSpPr>
                <p:cNvPr id="26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6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28" name="Group 227"/>
              <p:cNvGrpSpPr/>
              <p:nvPr/>
            </p:nvGrpSpPr>
            <p:grpSpPr>
              <a:xfrm>
                <a:off x="5284360" y="2574293"/>
                <a:ext cx="142875" cy="285750"/>
                <a:chOff x="942975" y="2489200"/>
                <a:chExt cx="142875" cy="285750"/>
              </a:xfrm>
              <a:grpFill/>
            </p:grpSpPr>
            <p:sp>
              <p:nvSpPr>
                <p:cNvPr id="26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6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29" name="Group 228"/>
              <p:cNvGrpSpPr/>
              <p:nvPr/>
            </p:nvGrpSpPr>
            <p:grpSpPr>
              <a:xfrm>
                <a:off x="5454231" y="2574293"/>
                <a:ext cx="142875" cy="285750"/>
                <a:chOff x="942975" y="2489200"/>
                <a:chExt cx="142875" cy="285750"/>
              </a:xfrm>
              <a:grpFill/>
            </p:grpSpPr>
            <p:sp>
              <p:nvSpPr>
                <p:cNvPr id="26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6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0" name="Group 229"/>
              <p:cNvGrpSpPr/>
              <p:nvPr/>
            </p:nvGrpSpPr>
            <p:grpSpPr>
              <a:xfrm>
                <a:off x="5624102" y="2574293"/>
                <a:ext cx="142875" cy="285750"/>
                <a:chOff x="942975" y="2489200"/>
                <a:chExt cx="142875" cy="285750"/>
              </a:xfrm>
              <a:grpFill/>
            </p:grpSpPr>
            <p:sp>
              <p:nvSpPr>
                <p:cNvPr id="26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6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1" name="Group 230"/>
              <p:cNvGrpSpPr/>
              <p:nvPr/>
            </p:nvGrpSpPr>
            <p:grpSpPr>
              <a:xfrm>
                <a:off x="5793973" y="2574293"/>
                <a:ext cx="142875" cy="285750"/>
                <a:chOff x="942975" y="2489200"/>
                <a:chExt cx="142875" cy="285750"/>
              </a:xfrm>
              <a:grpFill/>
            </p:grpSpPr>
            <p:sp>
              <p:nvSpPr>
                <p:cNvPr id="25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6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2" name="Group 231"/>
              <p:cNvGrpSpPr/>
              <p:nvPr/>
            </p:nvGrpSpPr>
            <p:grpSpPr>
              <a:xfrm>
                <a:off x="5963844" y="2574293"/>
                <a:ext cx="142875" cy="285750"/>
                <a:chOff x="942975" y="2489200"/>
                <a:chExt cx="142875" cy="285750"/>
              </a:xfrm>
              <a:grpFill/>
            </p:grpSpPr>
            <p:sp>
              <p:nvSpPr>
                <p:cNvPr id="25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5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3" name="Group 232"/>
              <p:cNvGrpSpPr/>
              <p:nvPr/>
            </p:nvGrpSpPr>
            <p:grpSpPr>
              <a:xfrm>
                <a:off x="4774747" y="2937150"/>
                <a:ext cx="142875" cy="285750"/>
                <a:chOff x="942975" y="2489200"/>
                <a:chExt cx="142875" cy="285750"/>
              </a:xfrm>
              <a:grpFill/>
            </p:grpSpPr>
            <p:sp>
              <p:nvSpPr>
                <p:cNvPr id="25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5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4" name="Group 233"/>
              <p:cNvGrpSpPr/>
              <p:nvPr/>
            </p:nvGrpSpPr>
            <p:grpSpPr>
              <a:xfrm>
                <a:off x="4944618" y="2937150"/>
                <a:ext cx="142875" cy="285750"/>
                <a:chOff x="942975" y="2489200"/>
                <a:chExt cx="142875" cy="285750"/>
              </a:xfrm>
              <a:grpFill/>
            </p:grpSpPr>
            <p:sp>
              <p:nvSpPr>
                <p:cNvPr id="25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5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5" name="Group 234"/>
              <p:cNvGrpSpPr/>
              <p:nvPr/>
            </p:nvGrpSpPr>
            <p:grpSpPr>
              <a:xfrm>
                <a:off x="5114489" y="2937150"/>
                <a:ext cx="142875" cy="285750"/>
                <a:chOff x="942975" y="2489200"/>
                <a:chExt cx="142875" cy="285750"/>
              </a:xfrm>
              <a:grpFill/>
            </p:grpSpPr>
            <p:sp>
              <p:nvSpPr>
                <p:cNvPr id="25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5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6" name="Group 235"/>
              <p:cNvGrpSpPr/>
              <p:nvPr/>
            </p:nvGrpSpPr>
            <p:grpSpPr>
              <a:xfrm>
                <a:off x="5284360" y="2937150"/>
                <a:ext cx="142875" cy="285750"/>
                <a:chOff x="942975" y="2489200"/>
                <a:chExt cx="142875" cy="285750"/>
              </a:xfrm>
              <a:grpFill/>
            </p:grpSpPr>
            <p:sp>
              <p:nvSpPr>
                <p:cNvPr id="24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5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7" name="Group 236"/>
              <p:cNvGrpSpPr/>
              <p:nvPr/>
            </p:nvGrpSpPr>
            <p:grpSpPr>
              <a:xfrm>
                <a:off x="5454231" y="2937150"/>
                <a:ext cx="142875" cy="285750"/>
                <a:chOff x="942975" y="2489200"/>
                <a:chExt cx="142875" cy="285750"/>
              </a:xfrm>
              <a:grpFill/>
            </p:grpSpPr>
            <p:sp>
              <p:nvSpPr>
                <p:cNvPr id="24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4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8" name="Group 237"/>
              <p:cNvGrpSpPr/>
              <p:nvPr/>
            </p:nvGrpSpPr>
            <p:grpSpPr>
              <a:xfrm>
                <a:off x="5624102" y="2937150"/>
                <a:ext cx="142875" cy="285750"/>
                <a:chOff x="942975" y="2489200"/>
                <a:chExt cx="142875" cy="285750"/>
              </a:xfrm>
              <a:grpFill/>
            </p:grpSpPr>
            <p:sp>
              <p:nvSpPr>
                <p:cNvPr id="24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4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39" name="Group 238"/>
              <p:cNvGrpSpPr/>
              <p:nvPr/>
            </p:nvGrpSpPr>
            <p:grpSpPr>
              <a:xfrm>
                <a:off x="5793973" y="2937150"/>
                <a:ext cx="142875" cy="285750"/>
                <a:chOff x="942975" y="2489200"/>
                <a:chExt cx="142875" cy="285750"/>
              </a:xfrm>
              <a:grpFill/>
            </p:grpSpPr>
            <p:sp>
              <p:nvSpPr>
                <p:cNvPr id="24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4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240" name="Group 239"/>
              <p:cNvGrpSpPr/>
              <p:nvPr/>
            </p:nvGrpSpPr>
            <p:grpSpPr>
              <a:xfrm>
                <a:off x="5963844" y="2937150"/>
                <a:ext cx="142875" cy="285750"/>
                <a:chOff x="942975" y="2489200"/>
                <a:chExt cx="142875" cy="285750"/>
              </a:xfrm>
              <a:grpFill/>
            </p:grpSpPr>
            <p:sp>
              <p:nvSpPr>
                <p:cNvPr id="24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4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grpSp>
          <p:nvGrpSpPr>
            <p:cNvPr id="73" name="Group 72"/>
            <p:cNvGrpSpPr/>
            <p:nvPr/>
          </p:nvGrpSpPr>
          <p:grpSpPr>
            <a:xfrm>
              <a:off x="8751181" y="5948043"/>
              <a:ext cx="820484" cy="399537"/>
              <a:chOff x="4774747" y="2574293"/>
              <a:chExt cx="1331972" cy="648607"/>
            </a:xfrm>
            <a:solidFill>
              <a:schemeClr val="bg1">
                <a:lumMod val="65000"/>
              </a:schemeClr>
            </a:solidFill>
          </p:grpSpPr>
          <p:grpSp>
            <p:nvGrpSpPr>
              <p:cNvPr id="177" name="Group 176"/>
              <p:cNvGrpSpPr/>
              <p:nvPr/>
            </p:nvGrpSpPr>
            <p:grpSpPr>
              <a:xfrm>
                <a:off x="4774747" y="2574293"/>
                <a:ext cx="142875" cy="285750"/>
                <a:chOff x="942975" y="2489200"/>
                <a:chExt cx="142875" cy="285750"/>
              </a:xfrm>
              <a:grpFill/>
            </p:grpSpPr>
            <p:sp>
              <p:nvSpPr>
                <p:cNvPr id="22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2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78" name="Group 177"/>
              <p:cNvGrpSpPr/>
              <p:nvPr/>
            </p:nvGrpSpPr>
            <p:grpSpPr>
              <a:xfrm>
                <a:off x="4944618" y="2574293"/>
                <a:ext cx="142875" cy="285750"/>
                <a:chOff x="942975" y="2489200"/>
                <a:chExt cx="142875" cy="285750"/>
              </a:xfrm>
              <a:grpFill/>
            </p:grpSpPr>
            <p:sp>
              <p:nvSpPr>
                <p:cNvPr id="22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2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79" name="Group 178"/>
              <p:cNvGrpSpPr/>
              <p:nvPr/>
            </p:nvGrpSpPr>
            <p:grpSpPr>
              <a:xfrm>
                <a:off x="5114489" y="2574293"/>
                <a:ext cx="142875" cy="285750"/>
                <a:chOff x="942975" y="2489200"/>
                <a:chExt cx="142875" cy="285750"/>
              </a:xfrm>
              <a:grpFill/>
            </p:grpSpPr>
            <p:sp>
              <p:nvSpPr>
                <p:cNvPr id="21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2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0" name="Group 179"/>
              <p:cNvGrpSpPr/>
              <p:nvPr/>
            </p:nvGrpSpPr>
            <p:grpSpPr>
              <a:xfrm>
                <a:off x="5284360" y="2574293"/>
                <a:ext cx="142875" cy="285750"/>
                <a:chOff x="942975" y="2489200"/>
                <a:chExt cx="142875" cy="285750"/>
              </a:xfrm>
              <a:grpFill/>
            </p:grpSpPr>
            <p:sp>
              <p:nvSpPr>
                <p:cNvPr id="21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1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1" name="Group 180"/>
              <p:cNvGrpSpPr/>
              <p:nvPr/>
            </p:nvGrpSpPr>
            <p:grpSpPr>
              <a:xfrm>
                <a:off x="5454231" y="2574293"/>
                <a:ext cx="142875" cy="285750"/>
                <a:chOff x="942975" y="2489200"/>
                <a:chExt cx="142875" cy="285750"/>
              </a:xfrm>
              <a:grpFill/>
            </p:grpSpPr>
            <p:sp>
              <p:nvSpPr>
                <p:cNvPr id="21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1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2" name="Group 181"/>
              <p:cNvGrpSpPr/>
              <p:nvPr/>
            </p:nvGrpSpPr>
            <p:grpSpPr>
              <a:xfrm>
                <a:off x="5624102" y="2574293"/>
                <a:ext cx="142875" cy="285750"/>
                <a:chOff x="942975" y="2489200"/>
                <a:chExt cx="142875" cy="285750"/>
              </a:xfrm>
              <a:grpFill/>
            </p:grpSpPr>
            <p:sp>
              <p:nvSpPr>
                <p:cNvPr id="21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1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3" name="Group 182"/>
              <p:cNvGrpSpPr/>
              <p:nvPr/>
            </p:nvGrpSpPr>
            <p:grpSpPr>
              <a:xfrm>
                <a:off x="5793973" y="2574293"/>
                <a:ext cx="142875" cy="285750"/>
                <a:chOff x="942975" y="2489200"/>
                <a:chExt cx="142875" cy="285750"/>
              </a:xfrm>
              <a:grpFill/>
            </p:grpSpPr>
            <p:sp>
              <p:nvSpPr>
                <p:cNvPr id="21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1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4" name="Group 183"/>
              <p:cNvGrpSpPr/>
              <p:nvPr/>
            </p:nvGrpSpPr>
            <p:grpSpPr>
              <a:xfrm>
                <a:off x="5963844" y="2574293"/>
                <a:ext cx="142875" cy="285750"/>
                <a:chOff x="942975" y="2489200"/>
                <a:chExt cx="142875" cy="285750"/>
              </a:xfrm>
              <a:grpFill/>
            </p:grpSpPr>
            <p:sp>
              <p:nvSpPr>
                <p:cNvPr id="20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1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5" name="Group 184"/>
              <p:cNvGrpSpPr/>
              <p:nvPr/>
            </p:nvGrpSpPr>
            <p:grpSpPr>
              <a:xfrm>
                <a:off x="4774747" y="2937150"/>
                <a:ext cx="142875" cy="285750"/>
                <a:chOff x="942975" y="2489200"/>
                <a:chExt cx="142875" cy="285750"/>
              </a:xfrm>
              <a:grpFill/>
            </p:grpSpPr>
            <p:sp>
              <p:nvSpPr>
                <p:cNvPr id="20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0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6" name="Group 185"/>
              <p:cNvGrpSpPr/>
              <p:nvPr/>
            </p:nvGrpSpPr>
            <p:grpSpPr>
              <a:xfrm>
                <a:off x="4944618" y="2937150"/>
                <a:ext cx="142875" cy="285750"/>
                <a:chOff x="942975" y="2489200"/>
                <a:chExt cx="142875" cy="285750"/>
              </a:xfrm>
              <a:grpFill/>
            </p:grpSpPr>
            <p:sp>
              <p:nvSpPr>
                <p:cNvPr id="20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0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7" name="Group 186"/>
              <p:cNvGrpSpPr/>
              <p:nvPr/>
            </p:nvGrpSpPr>
            <p:grpSpPr>
              <a:xfrm>
                <a:off x="5114489" y="2937150"/>
                <a:ext cx="142875" cy="285750"/>
                <a:chOff x="942975" y="2489200"/>
                <a:chExt cx="142875" cy="285750"/>
              </a:xfrm>
              <a:grpFill/>
            </p:grpSpPr>
            <p:sp>
              <p:nvSpPr>
                <p:cNvPr id="20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0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8" name="Group 187"/>
              <p:cNvGrpSpPr/>
              <p:nvPr/>
            </p:nvGrpSpPr>
            <p:grpSpPr>
              <a:xfrm>
                <a:off x="5284360" y="2937150"/>
                <a:ext cx="142875" cy="285750"/>
                <a:chOff x="942975" y="2489200"/>
                <a:chExt cx="142875" cy="285750"/>
              </a:xfrm>
              <a:grpFill/>
            </p:grpSpPr>
            <p:sp>
              <p:nvSpPr>
                <p:cNvPr id="20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0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89" name="Group 188"/>
              <p:cNvGrpSpPr/>
              <p:nvPr/>
            </p:nvGrpSpPr>
            <p:grpSpPr>
              <a:xfrm>
                <a:off x="5454231" y="2937150"/>
                <a:ext cx="142875" cy="285750"/>
                <a:chOff x="942975" y="2489200"/>
                <a:chExt cx="142875" cy="285750"/>
              </a:xfrm>
              <a:grpFill/>
            </p:grpSpPr>
            <p:sp>
              <p:nvSpPr>
                <p:cNvPr id="19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20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90" name="Group 189"/>
              <p:cNvGrpSpPr/>
              <p:nvPr/>
            </p:nvGrpSpPr>
            <p:grpSpPr>
              <a:xfrm>
                <a:off x="5624102" y="2937150"/>
                <a:ext cx="142875" cy="285750"/>
                <a:chOff x="942975" y="2489200"/>
                <a:chExt cx="142875" cy="285750"/>
              </a:xfrm>
              <a:grpFill/>
            </p:grpSpPr>
            <p:sp>
              <p:nvSpPr>
                <p:cNvPr id="19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9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91" name="Group 190"/>
              <p:cNvGrpSpPr/>
              <p:nvPr/>
            </p:nvGrpSpPr>
            <p:grpSpPr>
              <a:xfrm>
                <a:off x="5793973" y="2937150"/>
                <a:ext cx="142875" cy="285750"/>
                <a:chOff x="942975" y="2489200"/>
                <a:chExt cx="142875" cy="285750"/>
              </a:xfrm>
              <a:grpFill/>
            </p:grpSpPr>
            <p:sp>
              <p:nvSpPr>
                <p:cNvPr id="19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9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92" name="Group 191"/>
              <p:cNvGrpSpPr/>
              <p:nvPr/>
            </p:nvGrpSpPr>
            <p:grpSpPr>
              <a:xfrm>
                <a:off x="5963844" y="2937150"/>
                <a:ext cx="142875" cy="285750"/>
                <a:chOff x="942975" y="2489200"/>
                <a:chExt cx="142875" cy="285750"/>
              </a:xfrm>
              <a:grpFill/>
            </p:grpSpPr>
            <p:sp>
              <p:nvSpPr>
                <p:cNvPr id="19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9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grpSp>
          <p:nvGrpSpPr>
            <p:cNvPr id="74" name="Group 73"/>
            <p:cNvGrpSpPr/>
            <p:nvPr/>
          </p:nvGrpSpPr>
          <p:grpSpPr>
            <a:xfrm>
              <a:off x="7916028" y="6406941"/>
              <a:ext cx="820484" cy="399537"/>
              <a:chOff x="4774747" y="2574293"/>
              <a:chExt cx="1331972" cy="648607"/>
            </a:xfrm>
            <a:solidFill>
              <a:schemeClr val="bg1">
                <a:lumMod val="65000"/>
              </a:schemeClr>
            </a:solidFill>
          </p:grpSpPr>
          <p:grpSp>
            <p:nvGrpSpPr>
              <p:cNvPr id="129" name="Group 128"/>
              <p:cNvGrpSpPr/>
              <p:nvPr/>
            </p:nvGrpSpPr>
            <p:grpSpPr>
              <a:xfrm>
                <a:off x="4774747" y="2574293"/>
                <a:ext cx="142875" cy="285750"/>
                <a:chOff x="942975" y="2489200"/>
                <a:chExt cx="142875" cy="285750"/>
              </a:xfrm>
              <a:grpFill/>
            </p:grpSpPr>
            <p:sp>
              <p:nvSpPr>
                <p:cNvPr id="17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7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0" name="Group 129"/>
              <p:cNvGrpSpPr/>
              <p:nvPr/>
            </p:nvGrpSpPr>
            <p:grpSpPr>
              <a:xfrm>
                <a:off x="4944618" y="2574293"/>
                <a:ext cx="142875" cy="285750"/>
                <a:chOff x="942975" y="2489200"/>
                <a:chExt cx="142875" cy="285750"/>
              </a:xfrm>
              <a:grpFill/>
            </p:grpSpPr>
            <p:sp>
              <p:nvSpPr>
                <p:cNvPr id="17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7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1" name="Group 130"/>
              <p:cNvGrpSpPr/>
              <p:nvPr/>
            </p:nvGrpSpPr>
            <p:grpSpPr>
              <a:xfrm>
                <a:off x="5114489" y="2574293"/>
                <a:ext cx="142875" cy="285750"/>
                <a:chOff x="942975" y="2489200"/>
                <a:chExt cx="142875" cy="285750"/>
              </a:xfrm>
              <a:grpFill/>
            </p:grpSpPr>
            <p:sp>
              <p:nvSpPr>
                <p:cNvPr id="17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7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2" name="Group 131"/>
              <p:cNvGrpSpPr/>
              <p:nvPr/>
            </p:nvGrpSpPr>
            <p:grpSpPr>
              <a:xfrm>
                <a:off x="5284360" y="2574293"/>
                <a:ext cx="142875" cy="285750"/>
                <a:chOff x="942975" y="2489200"/>
                <a:chExt cx="142875" cy="285750"/>
              </a:xfrm>
              <a:grpFill/>
            </p:grpSpPr>
            <p:sp>
              <p:nvSpPr>
                <p:cNvPr id="16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7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3" name="Group 132"/>
              <p:cNvGrpSpPr/>
              <p:nvPr/>
            </p:nvGrpSpPr>
            <p:grpSpPr>
              <a:xfrm>
                <a:off x="5454231" y="2574293"/>
                <a:ext cx="142875" cy="285750"/>
                <a:chOff x="942975" y="2489200"/>
                <a:chExt cx="142875" cy="285750"/>
              </a:xfrm>
              <a:grpFill/>
            </p:grpSpPr>
            <p:sp>
              <p:nvSpPr>
                <p:cNvPr id="16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6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4" name="Group 133"/>
              <p:cNvGrpSpPr/>
              <p:nvPr/>
            </p:nvGrpSpPr>
            <p:grpSpPr>
              <a:xfrm>
                <a:off x="5624102" y="2574293"/>
                <a:ext cx="142875" cy="285750"/>
                <a:chOff x="942975" y="2489200"/>
                <a:chExt cx="142875" cy="285750"/>
              </a:xfrm>
              <a:grpFill/>
            </p:grpSpPr>
            <p:sp>
              <p:nvSpPr>
                <p:cNvPr id="16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6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5" name="Group 134"/>
              <p:cNvGrpSpPr/>
              <p:nvPr/>
            </p:nvGrpSpPr>
            <p:grpSpPr>
              <a:xfrm>
                <a:off x="5793973" y="2574293"/>
                <a:ext cx="142875" cy="285750"/>
                <a:chOff x="942975" y="2489200"/>
                <a:chExt cx="142875" cy="285750"/>
              </a:xfrm>
              <a:grpFill/>
            </p:grpSpPr>
            <p:sp>
              <p:nvSpPr>
                <p:cNvPr id="16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6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6" name="Group 135"/>
              <p:cNvGrpSpPr/>
              <p:nvPr/>
            </p:nvGrpSpPr>
            <p:grpSpPr>
              <a:xfrm>
                <a:off x="5963844" y="2574293"/>
                <a:ext cx="142875" cy="285750"/>
                <a:chOff x="942975" y="2489200"/>
                <a:chExt cx="142875" cy="285750"/>
              </a:xfrm>
              <a:grpFill/>
            </p:grpSpPr>
            <p:sp>
              <p:nvSpPr>
                <p:cNvPr id="16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6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7" name="Group 136"/>
              <p:cNvGrpSpPr/>
              <p:nvPr/>
            </p:nvGrpSpPr>
            <p:grpSpPr>
              <a:xfrm>
                <a:off x="4774747" y="2937150"/>
                <a:ext cx="142875" cy="285750"/>
                <a:chOff x="942975" y="2489200"/>
                <a:chExt cx="142875" cy="285750"/>
              </a:xfrm>
              <a:grpFill/>
            </p:grpSpPr>
            <p:sp>
              <p:nvSpPr>
                <p:cNvPr id="15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6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8" name="Group 137"/>
              <p:cNvGrpSpPr/>
              <p:nvPr/>
            </p:nvGrpSpPr>
            <p:grpSpPr>
              <a:xfrm>
                <a:off x="4944618" y="2937150"/>
                <a:ext cx="142875" cy="285750"/>
                <a:chOff x="942975" y="2489200"/>
                <a:chExt cx="142875" cy="285750"/>
              </a:xfrm>
              <a:grpFill/>
            </p:grpSpPr>
            <p:sp>
              <p:nvSpPr>
                <p:cNvPr id="15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5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39" name="Group 138"/>
              <p:cNvGrpSpPr/>
              <p:nvPr/>
            </p:nvGrpSpPr>
            <p:grpSpPr>
              <a:xfrm>
                <a:off x="5114489" y="2937150"/>
                <a:ext cx="142875" cy="285750"/>
                <a:chOff x="942975" y="2489200"/>
                <a:chExt cx="142875" cy="285750"/>
              </a:xfrm>
              <a:grpFill/>
            </p:grpSpPr>
            <p:sp>
              <p:nvSpPr>
                <p:cNvPr id="15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5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40" name="Group 139"/>
              <p:cNvGrpSpPr/>
              <p:nvPr/>
            </p:nvGrpSpPr>
            <p:grpSpPr>
              <a:xfrm>
                <a:off x="5284360" y="2937150"/>
                <a:ext cx="142875" cy="285750"/>
                <a:chOff x="942975" y="2489200"/>
                <a:chExt cx="142875" cy="285750"/>
              </a:xfrm>
              <a:grpFill/>
            </p:grpSpPr>
            <p:sp>
              <p:nvSpPr>
                <p:cNvPr id="15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5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41" name="Group 140"/>
              <p:cNvGrpSpPr/>
              <p:nvPr/>
            </p:nvGrpSpPr>
            <p:grpSpPr>
              <a:xfrm>
                <a:off x="5454231" y="2937150"/>
                <a:ext cx="142875" cy="285750"/>
                <a:chOff x="942975" y="2489200"/>
                <a:chExt cx="142875" cy="285750"/>
              </a:xfrm>
              <a:grpFill/>
            </p:grpSpPr>
            <p:sp>
              <p:nvSpPr>
                <p:cNvPr id="15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5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42" name="Group 141"/>
              <p:cNvGrpSpPr/>
              <p:nvPr/>
            </p:nvGrpSpPr>
            <p:grpSpPr>
              <a:xfrm>
                <a:off x="5624102" y="2937150"/>
                <a:ext cx="142875" cy="285750"/>
                <a:chOff x="942975" y="2489200"/>
                <a:chExt cx="142875" cy="285750"/>
              </a:xfrm>
              <a:grpFill/>
            </p:grpSpPr>
            <p:sp>
              <p:nvSpPr>
                <p:cNvPr id="14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5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43" name="Group 142"/>
              <p:cNvGrpSpPr/>
              <p:nvPr/>
            </p:nvGrpSpPr>
            <p:grpSpPr>
              <a:xfrm>
                <a:off x="5793973" y="2937150"/>
                <a:ext cx="142875" cy="285750"/>
                <a:chOff x="942975" y="2489200"/>
                <a:chExt cx="142875" cy="285750"/>
              </a:xfrm>
              <a:grpFill/>
            </p:grpSpPr>
            <p:sp>
              <p:nvSpPr>
                <p:cNvPr id="14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4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144" name="Group 143"/>
              <p:cNvGrpSpPr/>
              <p:nvPr/>
            </p:nvGrpSpPr>
            <p:grpSpPr>
              <a:xfrm>
                <a:off x="5963844" y="2937150"/>
                <a:ext cx="142875" cy="285750"/>
                <a:chOff x="942975" y="2489200"/>
                <a:chExt cx="142875" cy="285750"/>
              </a:xfrm>
              <a:grpFill/>
            </p:grpSpPr>
            <p:sp>
              <p:nvSpPr>
                <p:cNvPr id="14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4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grpSp>
          <p:nvGrpSpPr>
            <p:cNvPr id="75" name="Group 74"/>
            <p:cNvGrpSpPr/>
            <p:nvPr/>
          </p:nvGrpSpPr>
          <p:grpSpPr>
            <a:xfrm>
              <a:off x="8751181" y="6406941"/>
              <a:ext cx="820484" cy="399537"/>
              <a:chOff x="4774747" y="2574293"/>
              <a:chExt cx="1331972" cy="648607"/>
            </a:xfrm>
            <a:solidFill>
              <a:schemeClr val="bg1">
                <a:lumMod val="65000"/>
              </a:schemeClr>
            </a:solidFill>
          </p:grpSpPr>
          <p:grpSp>
            <p:nvGrpSpPr>
              <p:cNvPr id="81" name="Group 80"/>
              <p:cNvGrpSpPr/>
              <p:nvPr/>
            </p:nvGrpSpPr>
            <p:grpSpPr>
              <a:xfrm>
                <a:off x="4774747" y="2574293"/>
                <a:ext cx="142875" cy="285750"/>
                <a:chOff x="942975" y="2489200"/>
                <a:chExt cx="142875" cy="285750"/>
              </a:xfrm>
              <a:grpFill/>
            </p:grpSpPr>
            <p:sp>
              <p:nvSpPr>
                <p:cNvPr id="12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2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2" name="Group 81"/>
              <p:cNvGrpSpPr/>
              <p:nvPr/>
            </p:nvGrpSpPr>
            <p:grpSpPr>
              <a:xfrm>
                <a:off x="4944618" y="2574293"/>
                <a:ext cx="142875" cy="285750"/>
                <a:chOff x="942975" y="2489200"/>
                <a:chExt cx="142875" cy="285750"/>
              </a:xfrm>
              <a:grpFill/>
            </p:grpSpPr>
            <p:sp>
              <p:nvSpPr>
                <p:cNvPr id="12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2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3" name="Group 82"/>
              <p:cNvGrpSpPr/>
              <p:nvPr/>
            </p:nvGrpSpPr>
            <p:grpSpPr>
              <a:xfrm>
                <a:off x="5114489" y="2574293"/>
                <a:ext cx="142875" cy="285750"/>
                <a:chOff x="942975" y="2489200"/>
                <a:chExt cx="142875" cy="285750"/>
              </a:xfrm>
              <a:grpFill/>
            </p:grpSpPr>
            <p:sp>
              <p:nvSpPr>
                <p:cNvPr id="12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2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4" name="Group 83"/>
              <p:cNvGrpSpPr/>
              <p:nvPr/>
            </p:nvGrpSpPr>
            <p:grpSpPr>
              <a:xfrm>
                <a:off x="5284360" y="2574293"/>
                <a:ext cx="142875" cy="285750"/>
                <a:chOff x="942975" y="2489200"/>
                <a:chExt cx="142875" cy="285750"/>
              </a:xfrm>
              <a:grpFill/>
            </p:grpSpPr>
            <p:sp>
              <p:nvSpPr>
                <p:cNvPr id="12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2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5" name="Group 84"/>
              <p:cNvGrpSpPr/>
              <p:nvPr/>
            </p:nvGrpSpPr>
            <p:grpSpPr>
              <a:xfrm>
                <a:off x="5454231" y="2574293"/>
                <a:ext cx="142875" cy="285750"/>
                <a:chOff x="942975" y="2489200"/>
                <a:chExt cx="142875" cy="285750"/>
              </a:xfrm>
              <a:grpFill/>
            </p:grpSpPr>
            <p:sp>
              <p:nvSpPr>
                <p:cNvPr id="11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2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6" name="Group 85"/>
              <p:cNvGrpSpPr/>
              <p:nvPr/>
            </p:nvGrpSpPr>
            <p:grpSpPr>
              <a:xfrm>
                <a:off x="5624102" y="2574293"/>
                <a:ext cx="142875" cy="285750"/>
                <a:chOff x="942975" y="2489200"/>
                <a:chExt cx="142875" cy="285750"/>
              </a:xfrm>
              <a:grpFill/>
            </p:grpSpPr>
            <p:sp>
              <p:nvSpPr>
                <p:cNvPr id="11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1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7" name="Group 86"/>
              <p:cNvGrpSpPr/>
              <p:nvPr/>
            </p:nvGrpSpPr>
            <p:grpSpPr>
              <a:xfrm>
                <a:off x="5793973" y="2574293"/>
                <a:ext cx="142875" cy="285750"/>
                <a:chOff x="942975" y="2489200"/>
                <a:chExt cx="142875" cy="285750"/>
              </a:xfrm>
              <a:grpFill/>
            </p:grpSpPr>
            <p:sp>
              <p:nvSpPr>
                <p:cNvPr id="11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1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8" name="Group 87"/>
              <p:cNvGrpSpPr/>
              <p:nvPr/>
            </p:nvGrpSpPr>
            <p:grpSpPr>
              <a:xfrm>
                <a:off x="5963844" y="2574293"/>
                <a:ext cx="142875" cy="285750"/>
                <a:chOff x="942975" y="2489200"/>
                <a:chExt cx="142875" cy="285750"/>
              </a:xfrm>
              <a:grpFill/>
            </p:grpSpPr>
            <p:sp>
              <p:nvSpPr>
                <p:cNvPr id="11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1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89" name="Group 88"/>
              <p:cNvGrpSpPr/>
              <p:nvPr/>
            </p:nvGrpSpPr>
            <p:grpSpPr>
              <a:xfrm>
                <a:off x="4774747" y="2937150"/>
                <a:ext cx="142875" cy="285750"/>
                <a:chOff x="942975" y="2489200"/>
                <a:chExt cx="142875" cy="285750"/>
              </a:xfrm>
              <a:grpFill/>
            </p:grpSpPr>
            <p:sp>
              <p:nvSpPr>
                <p:cNvPr id="11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1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0" name="Group 89"/>
              <p:cNvGrpSpPr/>
              <p:nvPr/>
            </p:nvGrpSpPr>
            <p:grpSpPr>
              <a:xfrm>
                <a:off x="4944618" y="2937150"/>
                <a:ext cx="142875" cy="285750"/>
                <a:chOff x="942975" y="2489200"/>
                <a:chExt cx="142875" cy="285750"/>
              </a:xfrm>
              <a:grpFill/>
            </p:grpSpPr>
            <p:sp>
              <p:nvSpPr>
                <p:cNvPr id="10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1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1" name="Group 90"/>
              <p:cNvGrpSpPr/>
              <p:nvPr/>
            </p:nvGrpSpPr>
            <p:grpSpPr>
              <a:xfrm>
                <a:off x="5114489" y="2937150"/>
                <a:ext cx="142875" cy="285750"/>
                <a:chOff x="942975" y="2489200"/>
                <a:chExt cx="142875" cy="285750"/>
              </a:xfrm>
              <a:grpFill/>
            </p:grpSpPr>
            <p:sp>
              <p:nvSpPr>
                <p:cNvPr id="10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0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2" name="Group 91"/>
              <p:cNvGrpSpPr/>
              <p:nvPr/>
            </p:nvGrpSpPr>
            <p:grpSpPr>
              <a:xfrm>
                <a:off x="5284360" y="2937150"/>
                <a:ext cx="142875" cy="285750"/>
                <a:chOff x="942975" y="2489200"/>
                <a:chExt cx="142875" cy="285750"/>
              </a:xfrm>
              <a:grpFill/>
            </p:grpSpPr>
            <p:sp>
              <p:nvSpPr>
                <p:cNvPr id="105"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06"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3" name="Group 92"/>
              <p:cNvGrpSpPr/>
              <p:nvPr/>
            </p:nvGrpSpPr>
            <p:grpSpPr>
              <a:xfrm>
                <a:off x="5454231" y="2937150"/>
                <a:ext cx="142875" cy="285750"/>
                <a:chOff x="942975" y="2489200"/>
                <a:chExt cx="142875" cy="285750"/>
              </a:xfrm>
              <a:grpFill/>
            </p:grpSpPr>
            <p:sp>
              <p:nvSpPr>
                <p:cNvPr id="103"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04"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4" name="Group 93"/>
              <p:cNvGrpSpPr/>
              <p:nvPr/>
            </p:nvGrpSpPr>
            <p:grpSpPr>
              <a:xfrm>
                <a:off x="5624102" y="2937150"/>
                <a:ext cx="142875" cy="285750"/>
                <a:chOff x="942975" y="2489200"/>
                <a:chExt cx="142875" cy="285750"/>
              </a:xfrm>
              <a:grpFill/>
            </p:grpSpPr>
            <p:sp>
              <p:nvSpPr>
                <p:cNvPr id="101"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02"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5" name="Group 94"/>
              <p:cNvGrpSpPr/>
              <p:nvPr/>
            </p:nvGrpSpPr>
            <p:grpSpPr>
              <a:xfrm>
                <a:off x="5793973" y="2937150"/>
                <a:ext cx="142875" cy="285750"/>
                <a:chOff x="942975" y="2489200"/>
                <a:chExt cx="142875" cy="285750"/>
              </a:xfrm>
              <a:grpFill/>
            </p:grpSpPr>
            <p:sp>
              <p:nvSpPr>
                <p:cNvPr id="99"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100"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nvGrpSpPr>
              <p:cNvPr id="96" name="Group 95"/>
              <p:cNvGrpSpPr/>
              <p:nvPr/>
            </p:nvGrpSpPr>
            <p:grpSpPr>
              <a:xfrm>
                <a:off x="5963844" y="2937150"/>
                <a:ext cx="142875" cy="285750"/>
                <a:chOff x="942975" y="2489200"/>
                <a:chExt cx="142875" cy="285750"/>
              </a:xfrm>
              <a:grpFill/>
            </p:grpSpPr>
            <p:sp>
              <p:nvSpPr>
                <p:cNvPr id="97" name="Freeform 5"/>
                <p:cNvSpPr>
                  <a:spLocks noEditPoints="1"/>
                </p:cNvSpPr>
                <p:nvPr/>
              </p:nvSpPr>
              <p:spPr bwMode="auto">
                <a:xfrm>
                  <a:off x="966788" y="2489200"/>
                  <a:ext cx="95250" cy="95250"/>
                </a:xfrm>
                <a:custGeom>
                  <a:avLst/>
                  <a:gdLst>
                    <a:gd name="T0" fmla="*/ 175 w 301"/>
                    <a:gd name="T1" fmla="*/ 33 h 301"/>
                    <a:gd name="T2" fmla="*/ 207 w 301"/>
                    <a:gd name="T3" fmla="*/ 45 h 301"/>
                    <a:gd name="T4" fmla="*/ 235 w 301"/>
                    <a:gd name="T5" fmla="*/ 65 h 301"/>
                    <a:gd name="T6" fmla="*/ 257 w 301"/>
                    <a:gd name="T7" fmla="*/ 93 h 301"/>
                    <a:gd name="T8" fmla="*/ 268 w 301"/>
                    <a:gd name="T9" fmla="*/ 126 h 301"/>
                    <a:gd name="T10" fmla="*/ 271 w 301"/>
                    <a:gd name="T11" fmla="*/ 163 h 301"/>
                    <a:gd name="T12" fmla="*/ 261 w 301"/>
                    <a:gd name="T13" fmla="*/ 197 h 301"/>
                    <a:gd name="T14" fmla="*/ 244 w 301"/>
                    <a:gd name="T15" fmla="*/ 227 h 301"/>
                    <a:gd name="T16" fmla="*/ 218 w 301"/>
                    <a:gd name="T17" fmla="*/ 251 h 301"/>
                    <a:gd name="T18" fmla="*/ 186 w 301"/>
                    <a:gd name="T19" fmla="*/ 266 h 301"/>
                    <a:gd name="T20" fmla="*/ 151 w 301"/>
                    <a:gd name="T21" fmla="*/ 271 h 301"/>
                    <a:gd name="T22" fmla="*/ 115 w 301"/>
                    <a:gd name="T23" fmla="*/ 266 h 301"/>
                    <a:gd name="T24" fmla="*/ 83 w 301"/>
                    <a:gd name="T25" fmla="*/ 251 h 301"/>
                    <a:gd name="T26" fmla="*/ 57 w 301"/>
                    <a:gd name="T27" fmla="*/ 227 h 301"/>
                    <a:gd name="T28" fmla="*/ 40 w 301"/>
                    <a:gd name="T29" fmla="*/ 197 h 301"/>
                    <a:gd name="T30" fmla="*/ 30 w 301"/>
                    <a:gd name="T31" fmla="*/ 163 h 301"/>
                    <a:gd name="T32" fmla="*/ 33 w 301"/>
                    <a:gd name="T33" fmla="*/ 126 h 301"/>
                    <a:gd name="T34" fmla="*/ 44 w 301"/>
                    <a:gd name="T35" fmla="*/ 93 h 301"/>
                    <a:gd name="T36" fmla="*/ 66 w 301"/>
                    <a:gd name="T37" fmla="*/ 65 h 301"/>
                    <a:gd name="T38" fmla="*/ 94 w 301"/>
                    <a:gd name="T39" fmla="*/ 45 h 301"/>
                    <a:gd name="T40" fmla="*/ 126 w 301"/>
                    <a:gd name="T41" fmla="*/ 33 h 301"/>
                    <a:gd name="T42" fmla="*/ 151 w 301"/>
                    <a:gd name="T43" fmla="*/ 301 h 301"/>
                    <a:gd name="T44" fmla="*/ 196 w 301"/>
                    <a:gd name="T45" fmla="*/ 295 h 301"/>
                    <a:gd name="T46" fmla="*/ 234 w 301"/>
                    <a:gd name="T47" fmla="*/ 275 h 301"/>
                    <a:gd name="T48" fmla="*/ 266 w 301"/>
                    <a:gd name="T49" fmla="*/ 246 h 301"/>
                    <a:gd name="T50" fmla="*/ 289 w 301"/>
                    <a:gd name="T51" fmla="*/ 209 h 301"/>
                    <a:gd name="T52" fmla="*/ 301 w 301"/>
                    <a:gd name="T53" fmla="*/ 166 h 301"/>
                    <a:gd name="T54" fmla="*/ 297 w 301"/>
                    <a:gd name="T55" fmla="*/ 120 h 301"/>
                    <a:gd name="T56" fmla="*/ 282 w 301"/>
                    <a:gd name="T57" fmla="*/ 79 h 301"/>
                    <a:gd name="T58" fmla="*/ 257 w 301"/>
                    <a:gd name="T59" fmla="*/ 44 h 301"/>
                    <a:gd name="T60" fmla="*/ 222 w 301"/>
                    <a:gd name="T61" fmla="*/ 18 h 301"/>
                    <a:gd name="T62" fmla="*/ 181 w 301"/>
                    <a:gd name="T63" fmla="*/ 3 h 301"/>
                    <a:gd name="T64" fmla="*/ 136 w 301"/>
                    <a:gd name="T65" fmla="*/ 1 h 301"/>
                    <a:gd name="T66" fmla="*/ 92 w 301"/>
                    <a:gd name="T67" fmla="*/ 12 h 301"/>
                    <a:gd name="T68" fmla="*/ 55 w 301"/>
                    <a:gd name="T69" fmla="*/ 34 h 301"/>
                    <a:gd name="T70" fmla="*/ 26 w 301"/>
                    <a:gd name="T71" fmla="*/ 66 h 301"/>
                    <a:gd name="T72" fmla="*/ 7 w 301"/>
                    <a:gd name="T73" fmla="*/ 106 h 301"/>
                    <a:gd name="T74" fmla="*/ 0 w 301"/>
                    <a:gd name="T75" fmla="*/ 151 h 301"/>
                    <a:gd name="T76" fmla="*/ 7 w 301"/>
                    <a:gd name="T77" fmla="*/ 195 h 301"/>
                    <a:gd name="T78" fmla="*/ 26 w 301"/>
                    <a:gd name="T79" fmla="*/ 235 h 301"/>
                    <a:gd name="T80" fmla="*/ 55 w 301"/>
                    <a:gd name="T81" fmla="*/ 267 h 301"/>
                    <a:gd name="T82" fmla="*/ 92 w 301"/>
                    <a:gd name="T83" fmla="*/ 289 h 301"/>
                    <a:gd name="T84" fmla="*/ 136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30"/>
                      </a:moveTo>
                      <a:lnTo>
                        <a:pt x="162" y="31"/>
                      </a:lnTo>
                      <a:lnTo>
                        <a:pt x="175" y="33"/>
                      </a:lnTo>
                      <a:lnTo>
                        <a:pt x="186" y="35"/>
                      </a:lnTo>
                      <a:lnTo>
                        <a:pt x="198" y="40"/>
                      </a:lnTo>
                      <a:lnTo>
                        <a:pt x="207" y="45"/>
                      </a:lnTo>
                      <a:lnTo>
                        <a:pt x="218" y="51"/>
                      </a:lnTo>
                      <a:lnTo>
                        <a:pt x="227" y="58"/>
                      </a:lnTo>
                      <a:lnTo>
                        <a:pt x="235" y="65"/>
                      </a:lnTo>
                      <a:lnTo>
                        <a:pt x="244" y="74"/>
                      </a:lnTo>
                      <a:lnTo>
                        <a:pt x="250" y="83"/>
                      </a:lnTo>
                      <a:lnTo>
                        <a:pt x="257" y="93"/>
                      </a:lnTo>
                      <a:lnTo>
                        <a:pt x="261" y="104"/>
                      </a:lnTo>
                      <a:lnTo>
                        <a:pt x="265" y="115"/>
                      </a:lnTo>
                      <a:lnTo>
                        <a:pt x="268" y="126"/>
                      </a:lnTo>
                      <a:lnTo>
                        <a:pt x="271" y="138"/>
                      </a:lnTo>
                      <a:lnTo>
                        <a:pt x="271" y="151"/>
                      </a:lnTo>
                      <a:lnTo>
                        <a:pt x="271" y="163"/>
                      </a:lnTo>
                      <a:lnTo>
                        <a:pt x="268" y="175"/>
                      </a:lnTo>
                      <a:lnTo>
                        <a:pt x="265" y="186"/>
                      </a:lnTo>
                      <a:lnTo>
                        <a:pt x="261" y="197"/>
                      </a:lnTo>
                      <a:lnTo>
                        <a:pt x="257" y="208"/>
                      </a:lnTo>
                      <a:lnTo>
                        <a:pt x="250" y="217"/>
                      </a:lnTo>
                      <a:lnTo>
                        <a:pt x="244" y="227"/>
                      </a:lnTo>
                      <a:lnTo>
                        <a:pt x="235" y="236"/>
                      </a:lnTo>
                      <a:lnTo>
                        <a:pt x="227" y="243"/>
                      </a:lnTo>
                      <a:lnTo>
                        <a:pt x="218" y="251"/>
                      </a:lnTo>
                      <a:lnTo>
                        <a:pt x="207" y="256"/>
                      </a:lnTo>
                      <a:lnTo>
                        <a:pt x="198" y="261"/>
                      </a:lnTo>
                      <a:lnTo>
                        <a:pt x="186" y="266"/>
                      </a:lnTo>
                      <a:lnTo>
                        <a:pt x="175" y="269"/>
                      </a:lnTo>
                      <a:lnTo>
                        <a:pt x="162" y="270"/>
                      </a:lnTo>
                      <a:lnTo>
                        <a:pt x="151" y="271"/>
                      </a:lnTo>
                      <a:lnTo>
                        <a:pt x="138" y="270"/>
                      </a:lnTo>
                      <a:lnTo>
                        <a:pt x="126" y="269"/>
                      </a:lnTo>
                      <a:lnTo>
                        <a:pt x="115" y="266"/>
                      </a:lnTo>
                      <a:lnTo>
                        <a:pt x="103" y="261"/>
                      </a:lnTo>
                      <a:lnTo>
                        <a:pt x="94" y="256"/>
                      </a:lnTo>
                      <a:lnTo>
                        <a:pt x="83" y="251"/>
                      </a:lnTo>
                      <a:lnTo>
                        <a:pt x="74" y="243"/>
                      </a:lnTo>
                      <a:lnTo>
                        <a:pt x="66" y="236"/>
                      </a:lnTo>
                      <a:lnTo>
                        <a:pt x="57" y="227"/>
                      </a:lnTo>
                      <a:lnTo>
                        <a:pt x="51" y="217"/>
                      </a:lnTo>
                      <a:lnTo>
                        <a:pt x="44" y="208"/>
                      </a:lnTo>
                      <a:lnTo>
                        <a:pt x="40" y="197"/>
                      </a:lnTo>
                      <a:lnTo>
                        <a:pt x="36" y="186"/>
                      </a:lnTo>
                      <a:lnTo>
                        <a:pt x="33" y="175"/>
                      </a:lnTo>
                      <a:lnTo>
                        <a:pt x="30" y="163"/>
                      </a:lnTo>
                      <a:lnTo>
                        <a:pt x="30" y="151"/>
                      </a:lnTo>
                      <a:lnTo>
                        <a:pt x="30" y="138"/>
                      </a:lnTo>
                      <a:lnTo>
                        <a:pt x="33" y="126"/>
                      </a:lnTo>
                      <a:lnTo>
                        <a:pt x="36" y="115"/>
                      </a:lnTo>
                      <a:lnTo>
                        <a:pt x="40" y="104"/>
                      </a:lnTo>
                      <a:lnTo>
                        <a:pt x="44" y="93"/>
                      </a:lnTo>
                      <a:lnTo>
                        <a:pt x="51" y="83"/>
                      </a:lnTo>
                      <a:lnTo>
                        <a:pt x="57" y="74"/>
                      </a:lnTo>
                      <a:lnTo>
                        <a:pt x="66" y="65"/>
                      </a:lnTo>
                      <a:lnTo>
                        <a:pt x="74" y="58"/>
                      </a:lnTo>
                      <a:lnTo>
                        <a:pt x="83" y="51"/>
                      </a:lnTo>
                      <a:lnTo>
                        <a:pt x="94" y="45"/>
                      </a:lnTo>
                      <a:lnTo>
                        <a:pt x="103" y="40"/>
                      </a:lnTo>
                      <a:lnTo>
                        <a:pt x="115" y="35"/>
                      </a:lnTo>
                      <a:lnTo>
                        <a:pt x="126" y="33"/>
                      </a:lnTo>
                      <a:lnTo>
                        <a:pt x="138" y="31"/>
                      </a:lnTo>
                      <a:lnTo>
                        <a:pt x="151" y="30"/>
                      </a:lnTo>
                      <a:close/>
                      <a:moveTo>
                        <a:pt x="151" y="301"/>
                      </a:moveTo>
                      <a:lnTo>
                        <a:pt x="166" y="300"/>
                      </a:lnTo>
                      <a:lnTo>
                        <a:pt x="181" y="298"/>
                      </a:lnTo>
                      <a:lnTo>
                        <a:pt x="196" y="295"/>
                      </a:lnTo>
                      <a:lnTo>
                        <a:pt x="209" y="289"/>
                      </a:lnTo>
                      <a:lnTo>
                        <a:pt x="222" y="283"/>
                      </a:lnTo>
                      <a:lnTo>
                        <a:pt x="234" y="275"/>
                      </a:lnTo>
                      <a:lnTo>
                        <a:pt x="246" y="267"/>
                      </a:lnTo>
                      <a:lnTo>
                        <a:pt x="257" y="257"/>
                      </a:lnTo>
                      <a:lnTo>
                        <a:pt x="266" y="246"/>
                      </a:lnTo>
                      <a:lnTo>
                        <a:pt x="275" y="235"/>
                      </a:lnTo>
                      <a:lnTo>
                        <a:pt x="282" y="222"/>
                      </a:lnTo>
                      <a:lnTo>
                        <a:pt x="289" y="209"/>
                      </a:lnTo>
                      <a:lnTo>
                        <a:pt x="294" y="195"/>
                      </a:lnTo>
                      <a:lnTo>
                        <a:pt x="297" y="181"/>
                      </a:lnTo>
                      <a:lnTo>
                        <a:pt x="301" y="166"/>
                      </a:lnTo>
                      <a:lnTo>
                        <a:pt x="301" y="151"/>
                      </a:lnTo>
                      <a:lnTo>
                        <a:pt x="301" y="135"/>
                      </a:lnTo>
                      <a:lnTo>
                        <a:pt x="297" y="120"/>
                      </a:lnTo>
                      <a:lnTo>
                        <a:pt x="294" y="106"/>
                      </a:lnTo>
                      <a:lnTo>
                        <a:pt x="289" y="92"/>
                      </a:lnTo>
                      <a:lnTo>
                        <a:pt x="282" y="79"/>
                      </a:lnTo>
                      <a:lnTo>
                        <a:pt x="275" y="66"/>
                      </a:lnTo>
                      <a:lnTo>
                        <a:pt x="266" y="55"/>
                      </a:lnTo>
                      <a:lnTo>
                        <a:pt x="257" y="44"/>
                      </a:lnTo>
                      <a:lnTo>
                        <a:pt x="246" y="34"/>
                      </a:lnTo>
                      <a:lnTo>
                        <a:pt x="234" y="26"/>
                      </a:lnTo>
                      <a:lnTo>
                        <a:pt x="222" y="18"/>
                      </a:lnTo>
                      <a:lnTo>
                        <a:pt x="209" y="12"/>
                      </a:lnTo>
                      <a:lnTo>
                        <a:pt x="196" y="7"/>
                      </a:lnTo>
                      <a:lnTo>
                        <a:pt x="181" y="3"/>
                      </a:lnTo>
                      <a:lnTo>
                        <a:pt x="166" y="1"/>
                      </a:lnTo>
                      <a:lnTo>
                        <a:pt x="151" y="0"/>
                      </a:lnTo>
                      <a:lnTo>
                        <a:pt x="136" y="1"/>
                      </a:lnTo>
                      <a:lnTo>
                        <a:pt x="120" y="3"/>
                      </a:lnTo>
                      <a:lnTo>
                        <a:pt x="105" y="7"/>
                      </a:lnTo>
                      <a:lnTo>
                        <a:pt x="92" y="12"/>
                      </a:lnTo>
                      <a:lnTo>
                        <a:pt x="79" y="18"/>
                      </a:lnTo>
                      <a:lnTo>
                        <a:pt x="67" y="26"/>
                      </a:lnTo>
                      <a:lnTo>
                        <a:pt x="55" y="34"/>
                      </a:lnTo>
                      <a:lnTo>
                        <a:pt x="44" y="44"/>
                      </a:lnTo>
                      <a:lnTo>
                        <a:pt x="35" y="55"/>
                      </a:lnTo>
                      <a:lnTo>
                        <a:pt x="26" y="66"/>
                      </a:lnTo>
                      <a:lnTo>
                        <a:pt x="19" y="79"/>
                      </a:lnTo>
                      <a:lnTo>
                        <a:pt x="12" y="92"/>
                      </a:lnTo>
                      <a:lnTo>
                        <a:pt x="7" y="106"/>
                      </a:lnTo>
                      <a:lnTo>
                        <a:pt x="4" y="120"/>
                      </a:lnTo>
                      <a:lnTo>
                        <a:pt x="0" y="135"/>
                      </a:lnTo>
                      <a:lnTo>
                        <a:pt x="0" y="151"/>
                      </a:lnTo>
                      <a:lnTo>
                        <a:pt x="0" y="166"/>
                      </a:lnTo>
                      <a:lnTo>
                        <a:pt x="4" y="181"/>
                      </a:lnTo>
                      <a:lnTo>
                        <a:pt x="7" y="195"/>
                      </a:lnTo>
                      <a:lnTo>
                        <a:pt x="12" y="209"/>
                      </a:lnTo>
                      <a:lnTo>
                        <a:pt x="19" y="222"/>
                      </a:lnTo>
                      <a:lnTo>
                        <a:pt x="26" y="235"/>
                      </a:lnTo>
                      <a:lnTo>
                        <a:pt x="35" y="246"/>
                      </a:lnTo>
                      <a:lnTo>
                        <a:pt x="44" y="257"/>
                      </a:lnTo>
                      <a:lnTo>
                        <a:pt x="55" y="267"/>
                      </a:lnTo>
                      <a:lnTo>
                        <a:pt x="67" y="275"/>
                      </a:lnTo>
                      <a:lnTo>
                        <a:pt x="79" y="283"/>
                      </a:lnTo>
                      <a:lnTo>
                        <a:pt x="92" y="289"/>
                      </a:lnTo>
                      <a:lnTo>
                        <a:pt x="105" y="295"/>
                      </a:lnTo>
                      <a:lnTo>
                        <a:pt x="120" y="298"/>
                      </a:lnTo>
                      <a:lnTo>
                        <a:pt x="136" y="300"/>
                      </a:lnTo>
                      <a:lnTo>
                        <a:pt x="15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sp>
              <p:nvSpPr>
                <p:cNvPr id="98" name="Freeform 6"/>
                <p:cNvSpPr>
                  <a:spLocks noEditPoints="1"/>
                </p:cNvSpPr>
                <p:nvPr/>
              </p:nvSpPr>
              <p:spPr bwMode="auto">
                <a:xfrm>
                  <a:off x="942975" y="2593975"/>
                  <a:ext cx="142875" cy="180975"/>
                </a:xfrm>
                <a:custGeom>
                  <a:avLst/>
                  <a:gdLst>
                    <a:gd name="T0" fmla="*/ 286 w 451"/>
                    <a:gd name="T1" fmla="*/ 300 h 572"/>
                    <a:gd name="T2" fmla="*/ 165 w 451"/>
                    <a:gd name="T3" fmla="*/ 542 h 572"/>
                    <a:gd name="T4" fmla="*/ 158 w 451"/>
                    <a:gd name="T5" fmla="*/ 297 h 572"/>
                    <a:gd name="T6" fmla="*/ 129 w 451"/>
                    <a:gd name="T7" fmla="*/ 278 h 572"/>
                    <a:gd name="T8" fmla="*/ 104 w 451"/>
                    <a:gd name="T9" fmla="*/ 255 h 572"/>
                    <a:gd name="T10" fmla="*/ 83 w 451"/>
                    <a:gd name="T11" fmla="*/ 227 h 572"/>
                    <a:gd name="T12" fmla="*/ 66 w 451"/>
                    <a:gd name="T13" fmla="*/ 195 h 572"/>
                    <a:gd name="T14" fmla="*/ 51 w 451"/>
                    <a:gd name="T15" fmla="*/ 160 h 572"/>
                    <a:gd name="T16" fmla="*/ 40 w 451"/>
                    <a:gd name="T17" fmla="*/ 120 h 572"/>
                    <a:gd name="T18" fmla="*/ 34 w 451"/>
                    <a:gd name="T19" fmla="*/ 76 h 572"/>
                    <a:gd name="T20" fmla="*/ 30 w 451"/>
                    <a:gd name="T21" fmla="*/ 30 h 572"/>
                    <a:gd name="T22" fmla="*/ 420 w 451"/>
                    <a:gd name="T23" fmla="*/ 55 h 572"/>
                    <a:gd name="T24" fmla="*/ 415 w 451"/>
                    <a:gd name="T25" fmla="*/ 100 h 572"/>
                    <a:gd name="T26" fmla="*/ 406 w 451"/>
                    <a:gd name="T27" fmla="*/ 142 h 572"/>
                    <a:gd name="T28" fmla="*/ 394 w 451"/>
                    <a:gd name="T29" fmla="*/ 180 h 572"/>
                    <a:gd name="T30" fmla="*/ 378 w 451"/>
                    <a:gd name="T31" fmla="*/ 213 h 572"/>
                    <a:gd name="T32" fmla="*/ 358 w 451"/>
                    <a:gd name="T33" fmla="*/ 242 h 572"/>
                    <a:gd name="T34" fmla="*/ 335 w 451"/>
                    <a:gd name="T35" fmla="*/ 268 h 572"/>
                    <a:gd name="T36" fmla="*/ 308 w 451"/>
                    <a:gd name="T37" fmla="*/ 289 h 572"/>
                    <a:gd name="T38" fmla="*/ 0 w 451"/>
                    <a:gd name="T39" fmla="*/ 0 h 572"/>
                    <a:gd name="T40" fmla="*/ 0 w 451"/>
                    <a:gd name="T41" fmla="*/ 49 h 572"/>
                    <a:gd name="T42" fmla="*/ 8 w 451"/>
                    <a:gd name="T43" fmla="*/ 111 h 572"/>
                    <a:gd name="T44" fmla="*/ 21 w 451"/>
                    <a:gd name="T45" fmla="*/ 163 h 572"/>
                    <a:gd name="T46" fmla="*/ 38 w 451"/>
                    <a:gd name="T47" fmla="*/ 207 h 572"/>
                    <a:gd name="T48" fmla="*/ 58 w 451"/>
                    <a:gd name="T49" fmla="*/ 242 h 572"/>
                    <a:gd name="T50" fmla="*/ 80 w 451"/>
                    <a:gd name="T51" fmla="*/ 272 h 572"/>
                    <a:gd name="T52" fmla="*/ 102 w 451"/>
                    <a:gd name="T53" fmla="*/ 295 h 572"/>
                    <a:gd name="T54" fmla="*/ 125 w 451"/>
                    <a:gd name="T55" fmla="*/ 312 h 572"/>
                    <a:gd name="T56" fmla="*/ 135 w 451"/>
                    <a:gd name="T57" fmla="*/ 572 h 572"/>
                    <a:gd name="T58" fmla="*/ 316 w 451"/>
                    <a:gd name="T59" fmla="*/ 319 h 572"/>
                    <a:gd name="T60" fmla="*/ 340 w 451"/>
                    <a:gd name="T61" fmla="*/ 302 h 572"/>
                    <a:gd name="T62" fmla="*/ 364 w 451"/>
                    <a:gd name="T63" fmla="*/ 282 h 572"/>
                    <a:gd name="T64" fmla="*/ 386 w 451"/>
                    <a:gd name="T65" fmla="*/ 255 h 572"/>
                    <a:gd name="T66" fmla="*/ 407 w 451"/>
                    <a:gd name="T67" fmla="*/ 222 h 572"/>
                    <a:gd name="T68" fmla="*/ 425 w 451"/>
                    <a:gd name="T69" fmla="*/ 182 h 572"/>
                    <a:gd name="T70" fmla="*/ 439 w 451"/>
                    <a:gd name="T71" fmla="*/ 135 h 572"/>
                    <a:gd name="T72" fmla="*/ 447 w 451"/>
                    <a:gd name="T73" fmla="*/ 79 h 572"/>
                    <a:gd name="T74" fmla="*/ 451 w 451"/>
                    <a:gd name="T75" fmla="*/ 15 h 572"/>
                    <a:gd name="T76" fmla="*/ 0 w 451"/>
                    <a:gd name="T77"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572">
                      <a:moveTo>
                        <a:pt x="294" y="297"/>
                      </a:moveTo>
                      <a:lnTo>
                        <a:pt x="286" y="300"/>
                      </a:lnTo>
                      <a:lnTo>
                        <a:pt x="286" y="542"/>
                      </a:lnTo>
                      <a:lnTo>
                        <a:pt x="165" y="542"/>
                      </a:lnTo>
                      <a:lnTo>
                        <a:pt x="165" y="301"/>
                      </a:lnTo>
                      <a:lnTo>
                        <a:pt x="158" y="297"/>
                      </a:lnTo>
                      <a:lnTo>
                        <a:pt x="143" y="289"/>
                      </a:lnTo>
                      <a:lnTo>
                        <a:pt x="129" y="278"/>
                      </a:lnTo>
                      <a:lnTo>
                        <a:pt x="116" y="267"/>
                      </a:lnTo>
                      <a:lnTo>
                        <a:pt x="104" y="255"/>
                      </a:lnTo>
                      <a:lnTo>
                        <a:pt x="94" y="241"/>
                      </a:lnTo>
                      <a:lnTo>
                        <a:pt x="83" y="227"/>
                      </a:lnTo>
                      <a:lnTo>
                        <a:pt x="74" y="211"/>
                      </a:lnTo>
                      <a:lnTo>
                        <a:pt x="66" y="195"/>
                      </a:lnTo>
                      <a:lnTo>
                        <a:pt x="57" y="178"/>
                      </a:lnTo>
                      <a:lnTo>
                        <a:pt x="51" y="160"/>
                      </a:lnTo>
                      <a:lnTo>
                        <a:pt x="45" y="141"/>
                      </a:lnTo>
                      <a:lnTo>
                        <a:pt x="40" y="120"/>
                      </a:lnTo>
                      <a:lnTo>
                        <a:pt x="37" y="99"/>
                      </a:lnTo>
                      <a:lnTo>
                        <a:pt x="34" y="76"/>
                      </a:lnTo>
                      <a:lnTo>
                        <a:pt x="31" y="54"/>
                      </a:lnTo>
                      <a:lnTo>
                        <a:pt x="30" y="30"/>
                      </a:lnTo>
                      <a:lnTo>
                        <a:pt x="421" y="30"/>
                      </a:lnTo>
                      <a:lnTo>
                        <a:pt x="420" y="55"/>
                      </a:lnTo>
                      <a:lnTo>
                        <a:pt x="417" y="78"/>
                      </a:lnTo>
                      <a:lnTo>
                        <a:pt x="415" y="100"/>
                      </a:lnTo>
                      <a:lnTo>
                        <a:pt x="411" y="121"/>
                      </a:lnTo>
                      <a:lnTo>
                        <a:pt x="406" y="142"/>
                      </a:lnTo>
                      <a:lnTo>
                        <a:pt x="400" y="162"/>
                      </a:lnTo>
                      <a:lnTo>
                        <a:pt x="394" y="180"/>
                      </a:lnTo>
                      <a:lnTo>
                        <a:pt x="386" y="197"/>
                      </a:lnTo>
                      <a:lnTo>
                        <a:pt x="378" y="213"/>
                      </a:lnTo>
                      <a:lnTo>
                        <a:pt x="368" y="228"/>
                      </a:lnTo>
                      <a:lnTo>
                        <a:pt x="358" y="242"/>
                      </a:lnTo>
                      <a:lnTo>
                        <a:pt x="347" y="256"/>
                      </a:lnTo>
                      <a:lnTo>
                        <a:pt x="335" y="268"/>
                      </a:lnTo>
                      <a:lnTo>
                        <a:pt x="322" y="279"/>
                      </a:lnTo>
                      <a:lnTo>
                        <a:pt x="308" y="289"/>
                      </a:lnTo>
                      <a:lnTo>
                        <a:pt x="294" y="297"/>
                      </a:lnTo>
                      <a:close/>
                      <a:moveTo>
                        <a:pt x="0" y="0"/>
                      </a:moveTo>
                      <a:lnTo>
                        <a:pt x="0" y="15"/>
                      </a:lnTo>
                      <a:lnTo>
                        <a:pt x="0" y="49"/>
                      </a:lnTo>
                      <a:lnTo>
                        <a:pt x="4" y="82"/>
                      </a:lnTo>
                      <a:lnTo>
                        <a:pt x="8" y="111"/>
                      </a:lnTo>
                      <a:lnTo>
                        <a:pt x="13" y="138"/>
                      </a:lnTo>
                      <a:lnTo>
                        <a:pt x="21" y="163"/>
                      </a:lnTo>
                      <a:lnTo>
                        <a:pt x="28" y="186"/>
                      </a:lnTo>
                      <a:lnTo>
                        <a:pt x="38" y="207"/>
                      </a:lnTo>
                      <a:lnTo>
                        <a:pt x="48" y="226"/>
                      </a:lnTo>
                      <a:lnTo>
                        <a:pt x="58" y="242"/>
                      </a:lnTo>
                      <a:lnTo>
                        <a:pt x="69" y="259"/>
                      </a:lnTo>
                      <a:lnTo>
                        <a:pt x="80" y="272"/>
                      </a:lnTo>
                      <a:lnTo>
                        <a:pt x="91" y="284"/>
                      </a:lnTo>
                      <a:lnTo>
                        <a:pt x="102" y="295"/>
                      </a:lnTo>
                      <a:lnTo>
                        <a:pt x="114" y="304"/>
                      </a:lnTo>
                      <a:lnTo>
                        <a:pt x="125" y="312"/>
                      </a:lnTo>
                      <a:lnTo>
                        <a:pt x="135" y="319"/>
                      </a:lnTo>
                      <a:lnTo>
                        <a:pt x="135" y="572"/>
                      </a:lnTo>
                      <a:lnTo>
                        <a:pt x="316" y="572"/>
                      </a:lnTo>
                      <a:lnTo>
                        <a:pt x="316" y="319"/>
                      </a:lnTo>
                      <a:lnTo>
                        <a:pt x="327" y="311"/>
                      </a:lnTo>
                      <a:lnTo>
                        <a:pt x="340" y="302"/>
                      </a:lnTo>
                      <a:lnTo>
                        <a:pt x="352" y="293"/>
                      </a:lnTo>
                      <a:lnTo>
                        <a:pt x="364" y="282"/>
                      </a:lnTo>
                      <a:lnTo>
                        <a:pt x="376" y="269"/>
                      </a:lnTo>
                      <a:lnTo>
                        <a:pt x="386" y="255"/>
                      </a:lnTo>
                      <a:lnTo>
                        <a:pt x="397" y="240"/>
                      </a:lnTo>
                      <a:lnTo>
                        <a:pt x="407" y="222"/>
                      </a:lnTo>
                      <a:lnTo>
                        <a:pt x="416" y="204"/>
                      </a:lnTo>
                      <a:lnTo>
                        <a:pt x="425" y="182"/>
                      </a:lnTo>
                      <a:lnTo>
                        <a:pt x="432" y="160"/>
                      </a:lnTo>
                      <a:lnTo>
                        <a:pt x="439" y="135"/>
                      </a:lnTo>
                      <a:lnTo>
                        <a:pt x="444" y="108"/>
                      </a:lnTo>
                      <a:lnTo>
                        <a:pt x="447" y="79"/>
                      </a:lnTo>
                      <a:lnTo>
                        <a:pt x="451" y="48"/>
                      </a:lnTo>
                      <a:lnTo>
                        <a:pt x="451" y="15"/>
                      </a:lnTo>
                      <a:lnTo>
                        <a:pt x="45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endParaRPr lang="en-GB" sz="2194" dirty="0">
                    <a:solidFill>
                      <a:schemeClr val="tx1">
                        <a:lumMod val="50000"/>
                        <a:lumOff val="50000"/>
                      </a:schemeClr>
                    </a:solidFill>
                  </a:endParaRPr>
                </a:p>
              </p:txBody>
            </p:sp>
          </p:grpSp>
        </p:grpSp>
        <p:sp>
          <p:nvSpPr>
            <p:cNvPr id="76" name="Rectangle 75"/>
            <p:cNvSpPr/>
            <p:nvPr/>
          </p:nvSpPr>
          <p:spPr>
            <a:xfrm>
              <a:off x="7916028" y="5291435"/>
              <a:ext cx="839974" cy="138499"/>
            </a:xfrm>
            <a:prstGeom prst="rect">
              <a:avLst/>
            </a:prstGeom>
            <a:noFill/>
          </p:spPr>
          <p:txBody>
            <a:bodyPr wrap="none" lIns="0" tIns="0" rIns="0" bIns="0">
              <a:spAutoFit/>
            </a:bodyPr>
            <a:lstStyle/>
            <a:p>
              <a:r>
                <a:rPr lang="en-US" sz="900" dirty="0">
                  <a:solidFill>
                    <a:schemeClr val="tx1">
                      <a:lumMod val="50000"/>
                      <a:lumOff val="50000"/>
                    </a:schemeClr>
                  </a:solidFill>
                </a:rPr>
                <a:t>Approximately</a:t>
              </a:r>
            </a:p>
          </p:txBody>
        </p:sp>
        <p:sp>
          <p:nvSpPr>
            <p:cNvPr id="77" name="Rectangle 1"/>
            <p:cNvSpPr/>
            <p:nvPr/>
          </p:nvSpPr>
          <p:spPr>
            <a:xfrm>
              <a:off x="8020409" y="5844696"/>
              <a:ext cx="1476062" cy="1097028"/>
            </a:xfrm>
            <a:custGeom>
              <a:avLst/>
              <a:gdLst>
                <a:gd name="connsiteX0" fmla="*/ 0 w 1244729"/>
                <a:gd name="connsiteY0" fmla="*/ 0 h 936881"/>
                <a:gd name="connsiteX1" fmla="*/ 1244729 w 1244729"/>
                <a:gd name="connsiteY1" fmla="*/ 0 h 936881"/>
                <a:gd name="connsiteX2" fmla="*/ 1244729 w 1244729"/>
                <a:gd name="connsiteY2" fmla="*/ 936881 h 936881"/>
                <a:gd name="connsiteX3" fmla="*/ 0 w 1244729"/>
                <a:gd name="connsiteY3" fmla="*/ 936881 h 936881"/>
                <a:gd name="connsiteX4" fmla="*/ 0 w 1244729"/>
                <a:gd name="connsiteY4" fmla="*/ 0 h 936881"/>
                <a:gd name="connsiteX0" fmla="*/ 0 w 1244729"/>
                <a:gd name="connsiteY0" fmla="*/ 0 h 936881"/>
                <a:gd name="connsiteX1" fmla="*/ 1244729 w 1244729"/>
                <a:gd name="connsiteY1" fmla="*/ 0 h 936881"/>
                <a:gd name="connsiteX2" fmla="*/ 1244729 w 1244729"/>
                <a:gd name="connsiteY2" fmla="*/ 936881 h 936881"/>
                <a:gd name="connsiteX3" fmla="*/ 0 w 1244729"/>
                <a:gd name="connsiteY3" fmla="*/ 936881 h 936881"/>
                <a:gd name="connsiteX4" fmla="*/ 4316 w 1244729"/>
                <a:gd name="connsiteY4" fmla="*/ 377044 h 936881"/>
                <a:gd name="connsiteX5" fmla="*/ 0 w 1244729"/>
                <a:gd name="connsiteY5" fmla="*/ 0 h 936881"/>
                <a:gd name="connsiteX0" fmla="*/ 0 w 1244729"/>
                <a:gd name="connsiteY0" fmla="*/ 0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0 w 1244729"/>
                <a:gd name="connsiteY6" fmla="*/ 0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82555 w 1244729"/>
                <a:gd name="connsiteY0" fmla="*/ 289249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82555 w 1244729"/>
                <a:gd name="connsiteY6" fmla="*/ 289249 h 936881"/>
                <a:gd name="connsiteX0" fmla="*/ 373224 w 1244729"/>
                <a:gd name="connsiteY0" fmla="*/ 503853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4316 w 1244729"/>
                <a:gd name="connsiteY5" fmla="*/ 377044 h 936881"/>
                <a:gd name="connsiteX6" fmla="*/ 373224 w 1244729"/>
                <a:gd name="connsiteY6" fmla="*/ 503853 h 936881"/>
                <a:gd name="connsiteX0" fmla="*/ 378414 w 1249919"/>
                <a:gd name="connsiteY0" fmla="*/ 503853 h 936881"/>
                <a:gd name="connsiteX1" fmla="*/ 382730 w 1249919"/>
                <a:gd name="connsiteY1" fmla="*/ 3820 h 936881"/>
                <a:gd name="connsiteX2" fmla="*/ 1249919 w 1249919"/>
                <a:gd name="connsiteY2" fmla="*/ 0 h 936881"/>
                <a:gd name="connsiteX3" fmla="*/ 1249919 w 1249919"/>
                <a:gd name="connsiteY3" fmla="*/ 936881 h 936881"/>
                <a:gd name="connsiteX4" fmla="*/ 5190 w 1249919"/>
                <a:gd name="connsiteY4" fmla="*/ 936881 h 936881"/>
                <a:gd name="connsiteX5" fmla="*/ 176 w 1249919"/>
                <a:gd name="connsiteY5" fmla="*/ 582318 h 936881"/>
                <a:gd name="connsiteX6" fmla="*/ 378414 w 1249919"/>
                <a:gd name="connsiteY6" fmla="*/ 503853 h 936881"/>
                <a:gd name="connsiteX0" fmla="*/ 378257 w 1249762"/>
                <a:gd name="connsiteY0" fmla="*/ 503853 h 936881"/>
                <a:gd name="connsiteX1" fmla="*/ 382573 w 1249762"/>
                <a:gd name="connsiteY1" fmla="*/ 3820 h 936881"/>
                <a:gd name="connsiteX2" fmla="*/ 1249762 w 1249762"/>
                <a:gd name="connsiteY2" fmla="*/ 0 h 936881"/>
                <a:gd name="connsiteX3" fmla="*/ 1249762 w 1249762"/>
                <a:gd name="connsiteY3" fmla="*/ 936881 h 936881"/>
                <a:gd name="connsiteX4" fmla="*/ 5033 w 1249762"/>
                <a:gd name="connsiteY4" fmla="*/ 936881 h 936881"/>
                <a:gd name="connsiteX5" fmla="*/ 19 w 1249762"/>
                <a:gd name="connsiteY5" fmla="*/ 582318 h 936881"/>
                <a:gd name="connsiteX6" fmla="*/ 378257 w 1249762"/>
                <a:gd name="connsiteY6" fmla="*/ 503853 h 936881"/>
                <a:gd name="connsiteX0" fmla="*/ 378238 w 1249743"/>
                <a:gd name="connsiteY0" fmla="*/ 503853 h 936881"/>
                <a:gd name="connsiteX1" fmla="*/ 382554 w 1249743"/>
                <a:gd name="connsiteY1" fmla="*/ 3820 h 936881"/>
                <a:gd name="connsiteX2" fmla="*/ 1249743 w 1249743"/>
                <a:gd name="connsiteY2" fmla="*/ 0 h 936881"/>
                <a:gd name="connsiteX3" fmla="*/ 1249743 w 1249743"/>
                <a:gd name="connsiteY3" fmla="*/ 936881 h 936881"/>
                <a:gd name="connsiteX4" fmla="*/ 5014 w 1249743"/>
                <a:gd name="connsiteY4" fmla="*/ 936881 h 936881"/>
                <a:gd name="connsiteX5" fmla="*/ 0 w 1249743"/>
                <a:gd name="connsiteY5" fmla="*/ 582318 h 936881"/>
                <a:gd name="connsiteX6" fmla="*/ 378238 w 1249743"/>
                <a:gd name="connsiteY6" fmla="*/ 503853 h 936881"/>
                <a:gd name="connsiteX0" fmla="*/ 378238 w 1249743"/>
                <a:gd name="connsiteY0" fmla="*/ 503853 h 936881"/>
                <a:gd name="connsiteX1" fmla="*/ 382554 w 1249743"/>
                <a:gd name="connsiteY1" fmla="*/ 3820 h 936881"/>
                <a:gd name="connsiteX2" fmla="*/ 1249743 w 1249743"/>
                <a:gd name="connsiteY2" fmla="*/ 0 h 936881"/>
                <a:gd name="connsiteX3" fmla="*/ 1249743 w 1249743"/>
                <a:gd name="connsiteY3" fmla="*/ 936881 h 936881"/>
                <a:gd name="connsiteX4" fmla="*/ 5014 w 1249743"/>
                <a:gd name="connsiteY4" fmla="*/ 936881 h 936881"/>
                <a:gd name="connsiteX5" fmla="*/ 0 w 1249743"/>
                <a:gd name="connsiteY5" fmla="*/ 582318 h 936881"/>
                <a:gd name="connsiteX6" fmla="*/ 378238 w 1249743"/>
                <a:gd name="connsiteY6" fmla="*/ 503853 h 936881"/>
                <a:gd name="connsiteX0" fmla="*/ 378238 w 1249743"/>
                <a:gd name="connsiteY0" fmla="*/ 578498 h 936881"/>
                <a:gd name="connsiteX1" fmla="*/ 382554 w 1249743"/>
                <a:gd name="connsiteY1" fmla="*/ 3820 h 936881"/>
                <a:gd name="connsiteX2" fmla="*/ 1249743 w 1249743"/>
                <a:gd name="connsiteY2" fmla="*/ 0 h 936881"/>
                <a:gd name="connsiteX3" fmla="*/ 1249743 w 1249743"/>
                <a:gd name="connsiteY3" fmla="*/ 936881 h 936881"/>
                <a:gd name="connsiteX4" fmla="*/ 5014 w 1249743"/>
                <a:gd name="connsiteY4" fmla="*/ 936881 h 936881"/>
                <a:gd name="connsiteX5" fmla="*/ 0 w 1249743"/>
                <a:gd name="connsiteY5" fmla="*/ 582318 h 936881"/>
                <a:gd name="connsiteX6" fmla="*/ 378238 w 1249743"/>
                <a:gd name="connsiteY6" fmla="*/ 578498 h 936881"/>
                <a:gd name="connsiteX0" fmla="*/ 378238 w 1249743"/>
                <a:gd name="connsiteY0" fmla="*/ 578498 h 936881"/>
                <a:gd name="connsiteX1" fmla="*/ 382554 w 1249743"/>
                <a:gd name="connsiteY1" fmla="*/ 3820 h 936881"/>
                <a:gd name="connsiteX2" fmla="*/ 1249743 w 1249743"/>
                <a:gd name="connsiteY2" fmla="*/ 0 h 936881"/>
                <a:gd name="connsiteX3" fmla="*/ 1249743 w 1249743"/>
                <a:gd name="connsiteY3" fmla="*/ 936881 h 936881"/>
                <a:gd name="connsiteX4" fmla="*/ 5014 w 1249743"/>
                <a:gd name="connsiteY4" fmla="*/ 936881 h 936881"/>
                <a:gd name="connsiteX5" fmla="*/ 0 w 1249743"/>
                <a:gd name="connsiteY5" fmla="*/ 582318 h 936881"/>
                <a:gd name="connsiteX6" fmla="*/ 378238 w 1249743"/>
                <a:gd name="connsiteY6" fmla="*/ 578498 h 936881"/>
                <a:gd name="connsiteX0" fmla="*/ 378238 w 1249743"/>
                <a:gd name="connsiteY0" fmla="*/ 578498 h 936881"/>
                <a:gd name="connsiteX1" fmla="*/ 382554 w 1249743"/>
                <a:gd name="connsiteY1" fmla="*/ 3820 h 936881"/>
                <a:gd name="connsiteX2" fmla="*/ 1249743 w 1249743"/>
                <a:gd name="connsiteY2" fmla="*/ 0 h 936881"/>
                <a:gd name="connsiteX3" fmla="*/ 1249743 w 1249743"/>
                <a:gd name="connsiteY3" fmla="*/ 936881 h 936881"/>
                <a:gd name="connsiteX4" fmla="*/ 5014 w 1249743"/>
                <a:gd name="connsiteY4" fmla="*/ 936881 h 936881"/>
                <a:gd name="connsiteX5" fmla="*/ 0 w 1249743"/>
                <a:gd name="connsiteY5" fmla="*/ 582318 h 936881"/>
                <a:gd name="connsiteX6" fmla="*/ 378238 w 1249743"/>
                <a:gd name="connsiteY6" fmla="*/ 578498 h 936881"/>
                <a:gd name="connsiteX0" fmla="*/ 373224 w 1244729"/>
                <a:gd name="connsiteY0" fmla="*/ 578498 h 936881"/>
                <a:gd name="connsiteX1" fmla="*/ 377540 w 1244729"/>
                <a:gd name="connsiteY1" fmla="*/ 3820 h 936881"/>
                <a:gd name="connsiteX2" fmla="*/ 1244729 w 1244729"/>
                <a:gd name="connsiteY2" fmla="*/ 0 h 936881"/>
                <a:gd name="connsiteX3" fmla="*/ 1244729 w 1244729"/>
                <a:gd name="connsiteY3" fmla="*/ 936881 h 936881"/>
                <a:gd name="connsiteX4" fmla="*/ 0 w 1244729"/>
                <a:gd name="connsiteY4" fmla="*/ 936881 h 936881"/>
                <a:gd name="connsiteX5" fmla="*/ 249629 w 1244729"/>
                <a:gd name="connsiteY5" fmla="*/ 582318 h 936881"/>
                <a:gd name="connsiteX6" fmla="*/ 373224 w 1244729"/>
                <a:gd name="connsiteY6" fmla="*/ 578498 h 936881"/>
                <a:gd name="connsiteX0" fmla="*/ 124368 w 995873"/>
                <a:gd name="connsiteY0" fmla="*/ 578498 h 936881"/>
                <a:gd name="connsiteX1" fmla="*/ 128684 w 995873"/>
                <a:gd name="connsiteY1" fmla="*/ 3820 h 936881"/>
                <a:gd name="connsiteX2" fmla="*/ 995873 w 995873"/>
                <a:gd name="connsiteY2" fmla="*/ 0 h 936881"/>
                <a:gd name="connsiteX3" fmla="*/ 995873 w 995873"/>
                <a:gd name="connsiteY3" fmla="*/ 936881 h 936881"/>
                <a:gd name="connsiteX4" fmla="*/ 0 w 995873"/>
                <a:gd name="connsiteY4" fmla="*/ 826922 h 936881"/>
                <a:gd name="connsiteX5" fmla="*/ 773 w 995873"/>
                <a:gd name="connsiteY5" fmla="*/ 582318 h 936881"/>
                <a:gd name="connsiteX6" fmla="*/ 124368 w 995873"/>
                <a:gd name="connsiteY6" fmla="*/ 578498 h 936881"/>
                <a:gd name="connsiteX0" fmla="*/ 124368 w 995873"/>
                <a:gd name="connsiteY0" fmla="*/ 578498 h 838496"/>
                <a:gd name="connsiteX1" fmla="*/ 128684 w 995873"/>
                <a:gd name="connsiteY1" fmla="*/ 3820 h 838496"/>
                <a:gd name="connsiteX2" fmla="*/ 995873 w 995873"/>
                <a:gd name="connsiteY2" fmla="*/ 0 h 838496"/>
                <a:gd name="connsiteX3" fmla="*/ 990086 w 995873"/>
                <a:gd name="connsiteY3" fmla="*/ 838496 h 838496"/>
                <a:gd name="connsiteX4" fmla="*/ 0 w 995873"/>
                <a:gd name="connsiteY4" fmla="*/ 826922 h 838496"/>
                <a:gd name="connsiteX5" fmla="*/ 773 w 995873"/>
                <a:gd name="connsiteY5" fmla="*/ 582318 h 838496"/>
                <a:gd name="connsiteX6" fmla="*/ 124368 w 995873"/>
                <a:gd name="connsiteY6" fmla="*/ 578498 h 838496"/>
                <a:gd name="connsiteX0" fmla="*/ 124368 w 995873"/>
                <a:gd name="connsiteY0" fmla="*/ 435565 h 838496"/>
                <a:gd name="connsiteX1" fmla="*/ 128684 w 995873"/>
                <a:gd name="connsiteY1" fmla="*/ 3820 h 838496"/>
                <a:gd name="connsiteX2" fmla="*/ 995873 w 995873"/>
                <a:gd name="connsiteY2" fmla="*/ 0 h 838496"/>
                <a:gd name="connsiteX3" fmla="*/ 990086 w 995873"/>
                <a:gd name="connsiteY3" fmla="*/ 838496 h 838496"/>
                <a:gd name="connsiteX4" fmla="*/ 0 w 995873"/>
                <a:gd name="connsiteY4" fmla="*/ 826922 h 838496"/>
                <a:gd name="connsiteX5" fmla="*/ 773 w 995873"/>
                <a:gd name="connsiteY5" fmla="*/ 582318 h 838496"/>
                <a:gd name="connsiteX6" fmla="*/ 124368 w 995873"/>
                <a:gd name="connsiteY6" fmla="*/ 435565 h 838496"/>
                <a:gd name="connsiteX0" fmla="*/ 124368 w 995873"/>
                <a:gd name="connsiteY0" fmla="*/ 435565 h 838496"/>
                <a:gd name="connsiteX1" fmla="*/ 128684 w 995873"/>
                <a:gd name="connsiteY1" fmla="*/ 3820 h 838496"/>
                <a:gd name="connsiteX2" fmla="*/ 995873 w 995873"/>
                <a:gd name="connsiteY2" fmla="*/ 0 h 838496"/>
                <a:gd name="connsiteX3" fmla="*/ 990086 w 995873"/>
                <a:gd name="connsiteY3" fmla="*/ 838496 h 838496"/>
                <a:gd name="connsiteX4" fmla="*/ 0 w 995873"/>
                <a:gd name="connsiteY4" fmla="*/ 826922 h 838496"/>
                <a:gd name="connsiteX5" fmla="*/ 6498 w 995873"/>
                <a:gd name="connsiteY5" fmla="*/ 458028 h 838496"/>
                <a:gd name="connsiteX6" fmla="*/ 124368 w 995873"/>
                <a:gd name="connsiteY6" fmla="*/ 435565 h 838496"/>
                <a:gd name="connsiteX0" fmla="*/ 381976 w 995873"/>
                <a:gd name="connsiteY0" fmla="*/ 435565 h 838496"/>
                <a:gd name="connsiteX1" fmla="*/ 128684 w 995873"/>
                <a:gd name="connsiteY1" fmla="*/ 3820 h 838496"/>
                <a:gd name="connsiteX2" fmla="*/ 995873 w 995873"/>
                <a:gd name="connsiteY2" fmla="*/ 0 h 838496"/>
                <a:gd name="connsiteX3" fmla="*/ 990086 w 995873"/>
                <a:gd name="connsiteY3" fmla="*/ 838496 h 838496"/>
                <a:gd name="connsiteX4" fmla="*/ 0 w 995873"/>
                <a:gd name="connsiteY4" fmla="*/ 826922 h 838496"/>
                <a:gd name="connsiteX5" fmla="*/ 6498 w 995873"/>
                <a:gd name="connsiteY5" fmla="*/ 458028 h 838496"/>
                <a:gd name="connsiteX6" fmla="*/ 381976 w 995873"/>
                <a:gd name="connsiteY6" fmla="*/ 435565 h 838496"/>
                <a:gd name="connsiteX0" fmla="*/ 381976 w 995873"/>
                <a:gd name="connsiteY0" fmla="*/ 437959 h 840890"/>
                <a:gd name="connsiteX1" fmla="*/ 363393 w 995873"/>
                <a:gd name="connsiteY1" fmla="*/ 0 h 840890"/>
                <a:gd name="connsiteX2" fmla="*/ 995873 w 995873"/>
                <a:gd name="connsiteY2" fmla="*/ 2394 h 840890"/>
                <a:gd name="connsiteX3" fmla="*/ 990086 w 995873"/>
                <a:gd name="connsiteY3" fmla="*/ 840890 h 840890"/>
                <a:gd name="connsiteX4" fmla="*/ 0 w 995873"/>
                <a:gd name="connsiteY4" fmla="*/ 829316 h 840890"/>
                <a:gd name="connsiteX5" fmla="*/ 6498 w 995873"/>
                <a:gd name="connsiteY5" fmla="*/ 460422 h 840890"/>
                <a:gd name="connsiteX6" fmla="*/ 381976 w 995873"/>
                <a:gd name="connsiteY6" fmla="*/ 437959 h 840890"/>
                <a:gd name="connsiteX0" fmla="*/ 381976 w 995873"/>
                <a:gd name="connsiteY0" fmla="*/ 437959 h 840890"/>
                <a:gd name="connsiteX1" fmla="*/ 363393 w 995873"/>
                <a:gd name="connsiteY1" fmla="*/ 0 h 840890"/>
                <a:gd name="connsiteX2" fmla="*/ 995873 w 995873"/>
                <a:gd name="connsiteY2" fmla="*/ 2394 h 840890"/>
                <a:gd name="connsiteX3" fmla="*/ 990086 w 995873"/>
                <a:gd name="connsiteY3" fmla="*/ 840890 h 840890"/>
                <a:gd name="connsiteX4" fmla="*/ 0 w 995873"/>
                <a:gd name="connsiteY4" fmla="*/ 829316 h 840890"/>
                <a:gd name="connsiteX5" fmla="*/ 6498 w 995873"/>
                <a:gd name="connsiteY5" fmla="*/ 441778 h 840890"/>
                <a:gd name="connsiteX6" fmla="*/ 381976 w 995873"/>
                <a:gd name="connsiteY6" fmla="*/ 437959 h 840890"/>
                <a:gd name="connsiteX0" fmla="*/ 381976 w 995873"/>
                <a:gd name="connsiteY0" fmla="*/ 437959 h 840890"/>
                <a:gd name="connsiteX1" fmla="*/ 363393 w 995873"/>
                <a:gd name="connsiteY1" fmla="*/ 0 h 840890"/>
                <a:gd name="connsiteX2" fmla="*/ 995873 w 995873"/>
                <a:gd name="connsiteY2" fmla="*/ 2394 h 840890"/>
                <a:gd name="connsiteX3" fmla="*/ 990086 w 995873"/>
                <a:gd name="connsiteY3" fmla="*/ 840890 h 840890"/>
                <a:gd name="connsiteX4" fmla="*/ 0 w 995873"/>
                <a:gd name="connsiteY4" fmla="*/ 829316 h 840890"/>
                <a:gd name="connsiteX5" fmla="*/ 6498 w 995873"/>
                <a:gd name="connsiteY5" fmla="*/ 441778 h 840890"/>
                <a:gd name="connsiteX6" fmla="*/ 381976 w 995873"/>
                <a:gd name="connsiteY6" fmla="*/ 437959 h 840890"/>
                <a:gd name="connsiteX0" fmla="*/ 392652 w 1006549"/>
                <a:gd name="connsiteY0" fmla="*/ 437959 h 840890"/>
                <a:gd name="connsiteX1" fmla="*/ 374069 w 1006549"/>
                <a:gd name="connsiteY1" fmla="*/ 0 h 840890"/>
                <a:gd name="connsiteX2" fmla="*/ 1006549 w 1006549"/>
                <a:gd name="connsiteY2" fmla="*/ 2394 h 840890"/>
                <a:gd name="connsiteX3" fmla="*/ 1000762 w 1006549"/>
                <a:gd name="connsiteY3" fmla="*/ 840890 h 840890"/>
                <a:gd name="connsiteX4" fmla="*/ 10676 w 1006549"/>
                <a:gd name="connsiteY4" fmla="*/ 829316 h 840890"/>
                <a:gd name="connsiteX5" fmla="*/ 0 w 1006549"/>
                <a:gd name="connsiteY5" fmla="*/ 441778 h 840890"/>
                <a:gd name="connsiteX6" fmla="*/ 392652 w 1006549"/>
                <a:gd name="connsiteY6" fmla="*/ 437959 h 840890"/>
                <a:gd name="connsiteX0" fmla="*/ 399150 w 1013047"/>
                <a:gd name="connsiteY0" fmla="*/ 437959 h 840890"/>
                <a:gd name="connsiteX1" fmla="*/ 380567 w 1013047"/>
                <a:gd name="connsiteY1" fmla="*/ 0 h 840890"/>
                <a:gd name="connsiteX2" fmla="*/ 1013047 w 1013047"/>
                <a:gd name="connsiteY2" fmla="*/ 2394 h 840890"/>
                <a:gd name="connsiteX3" fmla="*/ 1007260 w 1013047"/>
                <a:gd name="connsiteY3" fmla="*/ 840890 h 840890"/>
                <a:gd name="connsiteX4" fmla="*/ 0 w 1013047"/>
                <a:gd name="connsiteY4" fmla="*/ 829316 h 840890"/>
                <a:gd name="connsiteX5" fmla="*/ 6498 w 1013047"/>
                <a:gd name="connsiteY5" fmla="*/ 441778 h 840890"/>
                <a:gd name="connsiteX6" fmla="*/ 399150 w 1013047"/>
                <a:gd name="connsiteY6" fmla="*/ 437959 h 840890"/>
                <a:gd name="connsiteX0" fmla="*/ 399150 w 1013047"/>
                <a:gd name="connsiteY0" fmla="*/ 442663 h 845594"/>
                <a:gd name="connsiteX1" fmla="*/ 458565 w 1013047"/>
                <a:gd name="connsiteY1" fmla="*/ 0 h 845594"/>
                <a:gd name="connsiteX2" fmla="*/ 1013047 w 1013047"/>
                <a:gd name="connsiteY2" fmla="*/ 7098 h 845594"/>
                <a:gd name="connsiteX3" fmla="*/ 1007260 w 1013047"/>
                <a:gd name="connsiteY3" fmla="*/ 845594 h 845594"/>
                <a:gd name="connsiteX4" fmla="*/ 0 w 1013047"/>
                <a:gd name="connsiteY4" fmla="*/ 834020 h 845594"/>
                <a:gd name="connsiteX5" fmla="*/ 6498 w 1013047"/>
                <a:gd name="connsiteY5" fmla="*/ 446482 h 845594"/>
                <a:gd name="connsiteX6" fmla="*/ 399150 w 1013047"/>
                <a:gd name="connsiteY6" fmla="*/ 442663 h 845594"/>
                <a:gd name="connsiteX0" fmla="*/ 459815 w 1013047"/>
                <a:gd name="connsiteY0" fmla="*/ 437959 h 845594"/>
                <a:gd name="connsiteX1" fmla="*/ 458565 w 1013047"/>
                <a:gd name="connsiteY1" fmla="*/ 0 h 845594"/>
                <a:gd name="connsiteX2" fmla="*/ 1013047 w 1013047"/>
                <a:gd name="connsiteY2" fmla="*/ 7098 h 845594"/>
                <a:gd name="connsiteX3" fmla="*/ 1007260 w 1013047"/>
                <a:gd name="connsiteY3" fmla="*/ 845594 h 845594"/>
                <a:gd name="connsiteX4" fmla="*/ 0 w 1013047"/>
                <a:gd name="connsiteY4" fmla="*/ 834020 h 845594"/>
                <a:gd name="connsiteX5" fmla="*/ 6498 w 1013047"/>
                <a:gd name="connsiteY5" fmla="*/ 446482 h 845594"/>
                <a:gd name="connsiteX6" fmla="*/ 459815 w 1013047"/>
                <a:gd name="connsiteY6" fmla="*/ 437959 h 845594"/>
                <a:gd name="connsiteX0" fmla="*/ 459815 w 1013047"/>
                <a:gd name="connsiteY0" fmla="*/ 437959 h 845594"/>
                <a:gd name="connsiteX1" fmla="*/ 458565 w 1013047"/>
                <a:gd name="connsiteY1" fmla="*/ 0 h 845594"/>
                <a:gd name="connsiteX2" fmla="*/ 1013047 w 1013047"/>
                <a:gd name="connsiteY2" fmla="*/ 7098 h 845594"/>
                <a:gd name="connsiteX3" fmla="*/ 1007260 w 1013047"/>
                <a:gd name="connsiteY3" fmla="*/ 845594 h 845594"/>
                <a:gd name="connsiteX4" fmla="*/ 0 w 1013047"/>
                <a:gd name="connsiteY4" fmla="*/ 834020 h 845594"/>
                <a:gd name="connsiteX5" fmla="*/ 6498 w 1013047"/>
                <a:gd name="connsiteY5" fmla="*/ 446482 h 845594"/>
                <a:gd name="connsiteX6" fmla="*/ 459815 w 1013047"/>
                <a:gd name="connsiteY6" fmla="*/ 437959 h 845594"/>
                <a:gd name="connsiteX0" fmla="*/ 459815 w 1013047"/>
                <a:gd name="connsiteY0" fmla="*/ 430861 h 838496"/>
                <a:gd name="connsiteX1" fmla="*/ 462899 w 1013047"/>
                <a:gd name="connsiteY1" fmla="*/ 25830 h 838496"/>
                <a:gd name="connsiteX2" fmla="*/ 1013047 w 1013047"/>
                <a:gd name="connsiteY2" fmla="*/ 0 h 838496"/>
                <a:gd name="connsiteX3" fmla="*/ 1007260 w 1013047"/>
                <a:gd name="connsiteY3" fmla="*/ 838496 h 838496"/>
                <a:gd name="connsiteX4" fmla="*/ 0 w 1013047"/>
                <a:gd name="connsiteY4" fmla="*/ 826922 h 838496"/>
                <a:gd name="connsiteX5" fmla="*/ 6498 w 1013047"/>
                <a:gd name="connsiteY5" fmla="*/ 439384 h 838496"/>
                <a:gd name="connsiteX6" fmla="*/ 459815 w 1013047"/>
                <a:gd name="connsiteY6" fmla="*/ 430861 h 838496"/>
                <a:gd name="connsiteX0" fmla="*/ 459815 w 1007260"/>
                <a:gd name="connsiteY0" fmla="*/ 405031 h 812666"/>
                <a:gd name="connsiteX1" fmla="*/ 462899 w 1007260"/>
                <a:gd name="connsiteY1" fmla="*/ 0 h 812666"/>
                <a:gd name="connsiteX2" fmla="*/ 1004381 w 1007260"/>
                <a:gd name="connsiteY2" fmla="*/ 7098 h 812666"/>
                <a:gd name="connsiteX3" fmla="*/ 1007260 w 1007260"/>
                <a:gd name="connsiteY3" fmla="*/ 812666 h 812666"/>
                <a:gd name="connsiteX4" fmla="*/ 0 w 1007260"/>
                <a:gd name="connsiteY4" fmla="*/ 801092 h 812666"/>
                <a:gd name="connsiteX5" fmla="*/ 6498 w 1007260"/>
                <a:gd name="connsiteY5" fmla="*/ 413554 h 812666"/>
                <a:gd name="connsiteX6" fmla="*/ 459815 w 1007260"/>
                <a:gd name="connsiteY6" fmla="*/ 405031 h 81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7260" h="812666">
                  <a:moveTo>
                    <a:pt x="459815" y="405031"/>
                  </a:moveTo>
                  <a:cubicBezTo>
                    <a:pt x="461565" y="204692"/>
                    <a:pt x="464571" y="95143"/>
                    <a:pt x="462899" y="0"/>
                  </a:cubicBezTo>
                  <a:lnTo>
                    <a:pt x="1004381" y="7098"/>
                  </a:lnTo>
                  <a:cubicBezTo>
                    <a:pt x="1005341" y="275621"/>
                    <a:pt x="1006300" y="544143"/>
                    <a:pt x="1007260" y="812666"/>
                  </a:cubicBezTo>
                  <a:lnTo>
                    <a:pt x="0" y="801092"/>
                  </a:lnTo>
                  <a:cubicBezTo>
                    <a:pt x="1439" y="614480"/>
                    <a:pt x="9005" y="590835"/>
                    <a:pt x="6498" y="413554"/>
                  </a:cubicBezTo>
                  <a:cubicBezTo>
                    <a:pt x="294308" y="412251"/>
                    <a:pt x="292270" y="407141"/>
                    <a:pt x="459815" y="405031"/>
                  </a:cubicBez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330" tIns="50165" rIns="100330" bIns="50165" numCol="1" spcCol="0" rtlCol="0" fromWordArt="0" anchor="ctr" anchorCtr="0" forceAA="0" compatLnSpc="1">
              <a:prstTxWarp prst="textNoShape">
                <a:avLst/>
              </a:prstTxWarp>
              <a:noAutofit/>
            </a:bodyPr>
            <a:lstStyle/>
            <a:p>
              <a:pPr algn="ctr">
                <a:spcBef>
                  <a:spcPts val="658"/>
                </a:spcBef>
              </a:pPr>
              <a:endParaRPr lang="en-GB" sz="1317" b="1" dirty="0">
                <a:solidFill>
                  <a:schemeClr val="tx1">
                    <a:lumMod val="50000"/>
                    <a:lumOff val="50000"/>
                  </a:schemeClr>
                </a:solidFill>
              </a:endParaRPr>
            </a:p>
          </p:txBody>
        </p:sp>
        <p:sp>
          <p:nvSpPr>
            <p:cNvPr id="78" name="Rectangle 77"/>
            <p:cNvSpPr/>
            <p:nvPr/>
          </p:nvSpPr>
          <p:spPr>
            <a:xfrm>
              <a:off x="8765820" y="5867499"/>
              <a:ext cx="663643" cy="369332"/>
            </a:xfrm>
            <a:prstGeom prst="rect">
              <a:avLst/>
            </a:prstGeom>
            <a:noFill/>
          </p:spPr>
          <p:txBody>
            <a:bodyPr wrap="none" lIns="0" tIns="0" rIns="0" bIns="0">
              <a:spAutoFit/>
            </a:bodyPr>
            <a:lstStyle/>
            <a:p>
              <a:pPr algn="r"/>
              <a:r>
                <a:rPr lang="en-US" sz="2400" dirty="0">
                  <a:solidFill>
                    <a:schemeClr val="tx1">
                      <a:lumMod val="50000"/>
                      <a:lumOff val="50000"/>
                    </a:schemeClr>
                  </a:solidFill>
                  <a:latin typeface="Impact" panose="020B0806030902050204" pitchFamily="34" charset="0"/>
                </a:rPr>
                <a:t>1,500</a:t>
              </a:r>
            </a:p>
          </p:txBody>
        </p:sp>
        <p:sp>
          <p:nvSpPr>
            <p:cNvPr id="79" name="Rectangle 78"/>
            <p:cNvSpPr/>
            <p:nvPr/>
          </p:nvSpPr>
          <p:spPr>
            <a:xfrm>
              <a:off x="8220941" y="6389647"/>
              <a:ext cx="1179810" cy="738664"/>
            </a:xfrm>
            <a:prstGeom prst="rect">
              <a:avLst/>
            </a:prstGeom>
            <a:noFill/>
          </p:spPr>
          <p:txBody>
            <a:bodyPr wrap="none" lIns="0" tIns="0" rIns="0" bIns="0">
              <a:spAutoFit/>
            </a:bodyPr>
            <a:lstStyle/>
            <a:p>
              <a:pPr algn="r"/>
              <a:r>
                <a:rPr lang="es-ES_tradnl" sz="800" dirty="0" smtClean="0">
                  <a:solidFill>
                    <a:schemeClr val="tx1">
                      <a:lumMod val="50000"/>
                      <a:lumOff val="50000"/>
                    </a:schemeClr>
                  </a:solidFill>
                </a:rPr>
                <a:t>334 consultores</a:t>
              </a:r>
            </a:p>
            <a:p>
              <a:pPr algn="r"/>
              <a:r>
                <a:rPr lang="es-ES_tradnl" sz="800" dirty="0" smtClean="0">
                  <a:solidFill>
                    <a:schemeClr val="tx1">
                      <a:lumMod val="50000"/>
                      <a:lumOff val="50000"/>
                    </a:schemeClr>
                  </a:solidFill>
                </a:rPr>
                <a:t>distribuidos en 50</a:t>
              </a:r>
            </a:p>
            <a:p>
              <a:pPr algn="r"/>
              <a:r>
                <a:rPr lang="es-ES_tradnl" sz="800" dirty="0" smtClean="0">
                  <a:solidFill>
                    <a:schemeClr val="tx1">
                      <a:lumMod val="50000"/>
                      <a:lumOff val="50000"/>
                    </a:schemeClr>
                  </a:solidFill>
                </a:rPr>
                <a:t>ubicaciones en las</a:t>
              </a:r>
            </a:p>
            <a:p>
              <a:pPr algn="r"/>
              <a:r>
                <a:rPr lang="es-ES_tradnl" sz="800" dirty="0" smtClean="0">
                  <a:solidFill>
                    <a:schemeClr val="tx1">
                      <a:lumMod val="50000"/>
                      <a:lumOff val="50000"/>
                    </a:schemeClr>
                  </a:solidFill>
                </a:rPr>
                <a:t>principales ciudades</a:t>
              </a:r>
            </a:p>
            <a:p>
              <a:pPr algn="r"/>
              <a:r>
                <a:rPr lang="es-ES_tradnl" sz="800" dirty="0" smtClean="0">
                  <a:solidFill>
                    <a:schemeClr val="tx1">
                      <a:lumMod val="50000"/>
                      <a:lumOff val="50000"/>
                    </a:schemeClr>
                  </a:solidFill>
                </a:rPr>
                <a:t>del mundo y</a:t>
              </a:r>
            </a:p>
            <a:p>
              <a:pPr algn="r"/>
              <a:r>
                <a:rPr lang="es-ES_tradnl" sz="800" dirty="0" smtClean="0">
                  <a:solidFill>
                    <a:schemeClr val="tx1">
                      <a:lumMod val="50000"/>
                      <a:lumOff val="50000"/>
                    </a:schemeClr>
                  </a:solidFill>
                </a:rPr>
                <a:t> mercados emergentes</a:t>
              </a:r>
              <a:endParaRPr lang="es-ES_tradnl" sz="800" dirty="0">
                <a:solidFill>
                  <a:schemeClr val="tx1">
                    <a:lumMod val="50000"/>
                    <a:lumOff val="50000"/>
                  </a:schemeClr>
                </a:solidFill>
              </a:endParaRPr>
            </a:p>
          </p:txBody>
        </p:sp>
        <p:sp>
          <p:nvSpPr>
            <p:cNvPr id="80" name="Rectangle 79"/>
            <p:cNvSpPr/>
            <p:nvPr/>
          </p:nvSpPr>
          <p:spPr>
            <a:xfrm>
              <a:off x="8796806" y="6220832"/>
              <a:ext cx="626775" cy="138499"/>
            </a:xfrm>
            <a:prstGeom prst="rect">
              <a:avLst/>
            </a:prstGeom>
            <a:noFill/>
          </p:spPr>
          <p:txBody>
            <a:bodyPr wrap="none" lIns="0" tIns="0" rIns="0" bIns="0">
              <a:spAutoFit/>
            </a:bodyPr>
            <a:lstStyle/>
            <a:p>
              <a:pPr algn="r"/>
              <a:r>
                <a:rPr lang="en-US" sz="900" dirty="0" smtClean="0">
                  <a:solidFill>
                    <a:schemeClr val="tx1">
                      <a:lumMod val="50000"/>
                      <a:lumOff val="50000"/>
                    </a:schemeClr>
                  </a:solidFill>
                </a:rPr>
                <a:t>empleados</a:t>
              </a:r>
              <a:endParaRPr lang="en-US" sz="900" dirty="0">
                <a:solidFill>
                  <a:schemeClr val="tx1">
                    <a:lumMod val="50000"/>
                    <a:lumOff val="50000"/>
                  </a:schemeClr>
                </a:solidFill>
              </a:endParaRPr>
            </a:p>
          </p:txBody>
        </p:sp>
      </p:grpSp>
      <p:grpSp>
        <p:nvGrpSpPr>
          <p:cNvPr id="15" name="Group 14"/>
          <p:cNvGrpSpPr/>
          <p:nvPr/>
        </p:nvGrpSpPr>
        <p:grpSpPr>
          <a:xfrm>
            <a:off x="7925359" y="2327583"/>
            <a:ext cx="1800000" cy="1383282"/>
            <a:chOff x="7916028" y="2226371"/>
            <a:chExt cx="1800000" cy="1383282"/>
          </a:xfrm>
        </p:grpSpPr>
        <p:sp>
          <p:nvSpPr>
            <p:cNvPr id="402" name="Rectangle 401"/>
            <p:cNvSpPr/>
            <p:nvPr/>
          </p:nvSpPr>
          <p:spPr>
            <a:xfrm>
              <a:off x="7916028" y="2624768"/>
              <a:ext cx="1800000" cy="984885"/>
            </a:xfrm>
            <a:prstGeom prst="rect">
              <a:avLst/>
            </a:prstGeom>
          </p:spPr>
          <p:txBody>
            <a:bodyPr wrap="square" lIns="0" tIns="0" rIns="0" bIns="0">
              <a:spAutoFit/>
            </a:bodyPr>
            <a:lstStyle/>
            <a:p>
              <a:r>
                <a:rPr lang="en-GB" sz="800" dirty="0" smtClean="0">
                  <a:solidFill>
                    <a:schemeClr val="tx1">
                      <a:lumMod val="50000"/>
                      <a:lumOff val="50000"/>
                    </a:schemeClr>
                  </a:solidFill>
                </a:rPr>
                <a:t>Un proveedor internacional de servicios de asesoramiento de liderazgo </a:t>
              </a:r>
              <a:r>
                <a:rPr lang="es-ES" sz="800" dirty="0">
                  <a:solidFill>
                    <a:schemeClr val="tx1">
                      <a:lumMod val="50000"/>
                      <a:lumOff val="50000"/>
                    </a:schemeClr>
                  </a:solidFill>
                </a:rPr>
                <a:t>que incluye búsqueda de ejecutivos, gestión del talento, </a:t>
              </a:r>
              <a:r>
                <a:rPr lang="es-ES" sz="800" dirty="0" smtClean="0">
                  <a:solidFill>
                    <a:schemeClr val="tx1">
                      <a:lumMod val="50000"/>
                      <a:lumOff val="50000"/>
                    </a:schemeClr>
                  </a:solidFill>
                </a:rPr>
                <a:t>formación del consejo de administración, incorporación </a:t>
              </a:r>
              <a:r>
                <a:rPr lang="es-ES" sz="800" dirty="0">
                  <a:solidFill>
                    <a:schemeClr val="tx1">
                      <a:lumMod val="50000"/>
                      <a:lumOff val="50000"/>
                    </a:schemeClr>
                  </a:solidFill>
                </a:rPr>
                <a:t>de ejecutivos y eficacia </a:t>
              </a:r>
              <a:r>
                <a:rPr lang="es-ES" sz="800" dirty="0" smtClean="0">
                  <a:solidFill>
                    <a:schemeClr val="tx1">
                      <a:lumMod val="50000"/>
                      <a:lumOff val="50000"/>
                    </a:schemeClr>
                  </a:solidFill>
                </a:rPr>
                <a:t>en </a:t>
              </a:r>
              <a:r>
                <a:rPr lang="es-ES" sz="800" dirty="0">
                  <a:solidFill>
                    <a:schemeClr val="tx1">
                      <a:lumMod val="50000"/>
                      <a:lumOff val="50000"/>
                    </a:schemeClr>
                  </a:solidFill>
                </a:rPr>
                <a:t>fusiones y </a:t>
              </a:r>
              <a:r>
                <a:rPr lang="es-ES" sz="800" dirty="0" smtClean="0">
                  <a:solidFill>
                    <a:schemeClr val="tx1">
                      <a:lumMod val="50000"/>
                      <a:lumOff val="50000"/>
                    </a:schemeClr>
                  </a:solidFill>
                </a:rPr>
                <a:t>adquisiciones</a:t>
              </a:r>
              <a:endParaRPr lang="en-GB" sz="800" dirty="0">
                <a:solidFill>
                  <a:schemeClr val="tx1">
                    <a:lumMod val="50000"/>
                    <a:lumOff val="50000"/>
                  </a:schemeClr>
                </a:solidFill>
              </a:endParaRPr>
            </a:p>
          </p:txBody>
        </p:sp>
        <p:sp>
          <p:nvSpPr>
            <p:cNvPr id="403" name="Rectangle 402"/>
            <p:cNvSpPr/>
            <p:nvPr/>
          </p:nvSpPr>
          <p:spPr>
            <a:xfrm>
              <a:off x="8441517" y="2226371"/>
              <a:ext cx="1038746" cy="369332"/>
            </a:xfrm>
            <a:prstGeom prst="rect">
              <a:avLst/>
            </a:prstGeom>
          </p:spPr>
          <p:txBody>
            <a:bodyPr wrap="none" lIns="0" tIns="0" rIns="0" bIns="0">
              <a:spAutoFit/>
            </a:bodyPr>
            <a:lstStyle/>
            <a:p>
              <a:pPr algn="r"/>
              <a:r>
                <a:rPr lang="es-ES" sz="2400" dirty="0" smtClean="0">
                  <a:solidFill>
                    <a:schemeClr val="tx1">
                      <a:lumMod val="50000"/>
                      <a:lumOff val="50000"/>
                    </a:schemeClr>
                  </a:solidFill>
                  <a:latin typeface="Impact" panose="020B0806030902050204" pitchFamily="34" charset="0"/>
                </a:rPr>
                <a:t>PIONERO</a:t>
              </a:r>
              <a:endParaRPr lang="en-US" sz="2400" dirty="0">
                <a:solidFill>
                  <a:schemeClr val="tx1">
                    <a:lumMod val="50000"/>
                    <a:lumOff val="50000"/>
                  </a:schemeClr>
                </a:solidFill>
                <a:latin typeface="Impact" panose="020B0806030902050204" pitchFamily="34" charset="0"/>
              </a:endParaRPr>
            </a:p>
          </p:txBody>
        </p:sp>
      </p:grpSp>
      <p:cxnSp>
        <p:nvCxnSpPr>
          <p:cNvPr id="405" name="Straight Connector 404"/>
          <p:cNvCxnSpPr/>
          <p:nvPr/>
        </p:nvCxnSpPr>
        <p:spPr>
          <a:xfrm rot="16200000" flipV="1">
            <a:off x="8773025" y="4276720"/>
            <a:ext cx="0" cy="169200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rot="16200000" flipV="1">
            <a:off x="8773025" y="2897464"/>
            <a:ext cx="0" cy="169200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78572" y="5451595"/>
            <a:ext cx="2246045" cy="1457476"/>
            <a:chOff x="369241" y="5432933"/>
            <a:chExt cx="2246045" cy="1457476"/>
          </a:xfrm>
        </p:grpSpPr>
        <p:sp>
          <p:nvSpPr>
            <p:cNvPr id="409" name="TextBox 408"/>
            <p:cNvSpPr txBox="1"/>
            <p:nvPr/>
          </p:nvSpPr>
          <p:spPr>
            <a:xfrm>
              <a:off x="369241" y="5432933"/>
              <a:ext cx="2243055" cy="123111"/>
            </a:xfrm>
            <a:prstGeom prst="rect">
              <a:avLst/>
            </a:prstGeom>
            <a:noFill/>
          </p:spPr>
          <p:txBody>
            <a:bodyPr wrap="square" lIns="0" tIns="0" rIns="0" bIns="0" rtlCol="0">
              <a:spAutoFit/>
            </a:bodyPr>
            <a:lstStyle/>
            <a:p>
              <a:r>
                <a:rPr lang="en-US" sz="800" b="1" dirty="0" smtClean="0">
                  <a:solidFill>
                    <a:schemeClr val="tx1">
                      <a:lumMod val="50000"/>
                      <a:lumOff val="50000"/>
                    </a:schemeClr>
                  </a:solidFill>
                  <a:ea typeface="Impact" charset="0"/>
                  <a:cs typeface="Impact" charset="0"/>
                </a:rPr>
                <a:t>Prácticas Globales por Industria</a:t>
              </a:r>
              <a:endParaRPr lang="en-US" sz="800" b="1" dirty="0">
                <a:solidFill>
                  <a:schemeClr val="tx1">
                    <a:lumMod val="50000"/>
                    <a:lumOff val="50000"/>
                  </a:schemeClr>
                </a:solidFill>
                <a:ea typeface="Impact" charset="0"/>
                <a:cs typeface="Impact" charset="0"/>
              </a:endParaRPr>
            </a:p>
          </p:txBody>
        </p:sp>
        <p:sp>
          <p:nvSpPr>
            <p:cNvPr id="410" name="TextBox 409"/>
            <p:cNvSpPr txBox="1"/>
            <p:nvPr/>
          </p:nvSpPr>
          <p:spPr>
            <a:xfrm>
              <a:off x="369241" y="5674692"/>
              <a:ext cx="2246045" cy="1215717"/>
            </a:xfrm>
            <a:prstGeom prst="rect">
              <a:avLst/>
            </a:prstGeom>
            <a:noFill/>
          </p:spPr>
          <p:txBody>
            <a:bodyPr wrap="square" lIns="0" tIns="0" rIns="0" bIns="0" rtlCol="0">
              <a:spAutoFit/>
            </a:bodyPr>
            <a:lstStyle/>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Consumo</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Educación, Empresas sin Ánimo de Lucro y Sociales</a:t>
              </a: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Servicios Financieros</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dirty="0" smtClean="0">
                  <a:solidFill>
                    <a:schemeClr val="tx1">
                      <a:lumMod val="50000"/>
                      <a:lumOff val="50000"/>
                    </a:schemeClr>
                  </a:solidFill>
                </a:rPr>
                <a:t>Tecnología y Servicios</a:t>
              </a:r>
              <a:endParaRPr lang="en-GB"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dirty="0" smtClean="0">
                  <a:solidFill>
                    <a:schemeClr val="tx1">
                      <a:lumMod val="50000"/>
                      <a:lumOff val="50000"/>
                    </a:schemeClr>
                  </a:solidFill>
                </a:rPr>
                <a:t>Industria</a:t>
              </a:r>
              <a:endParaRPr lang="en-GB"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dirty="0" smtClean="0">
                  <a:solidFill>
                    <a:schemeClr val="tx1">
                      <a:lumMod val="50000"/>
                      <a:lumOff val="50000"/>
                    </a:schemeClr>
                  </a:solidFill>
                </a:rPr>
                <a:t>Salud y Ciencias de la Salud</a:t>
              </a:r>
              <a:endParaRPr lang="en-GB"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i="1" dirty="0" smtClean="0">
                  <a:solidFill>
                    <a:schemeClr val="tx1">
                      <a:lumMod val="50000"/>
                      <a:lumOff val="50000"/>
                    </a:schemeClr>
                  </a:solidFill>
                </a:rPr>
                <a:t>Private Equity </a:t>
              </a:r>
              <a:r>
                <a:rPr lang="en-GB" sz="800" dirty="0" smtClean="0">
                  <a:solidFill>
                    <a:schemeClr val="tx1">
                      <a:lumMod val="50000"/>
                      <a:lumOff val="50000"/>
                    </a:schemeClr>
                  </a:solidFill>
                </a:rPr>
                <a:t>y </a:t>
              </a:r>
              <a:r>
                <a:rPr lang="en-GB" sz="800" i="1" dirty="0" smtClean="0">
                  <a:solidFill>
                    <a:schemeClr val="tx1">
                      <a:lumMod val="50000"/>
                      <a:lumOff val="50000"/>
                    </a:schemeClr>
                  </a:solidFill>
                </a:rPr>
                <a:t>Venture Capital</a:t>
              </a:r>
              <a:endParaRPr lang="en-US" sz="800" i="1" dirty="0">
                <a:solidFill>
                  <a:schemeClr val="tx1">
                    <a:lumMod val="50000"/>
                    <a:lumOff val="50000"/>
                  </a:schemeClr>
                </a:solidFill>
              </a:endParaRPr>
            </a:p>
          </p:txBody>
        </p:sp>
      </p:grpSp>
      <p:grpSp>
        <p:nvGrpSpPr>
          <p:cNvPr id="20" name="Group 19"/>
          <p:cNvGrpSpPr/>
          <p:nvPr/>
        </p:nvGrpSpPr>
        <p:grpSpPr>
          <a:xfrm>
            <a:off x="3021731" y="5451595"/>
            <a:ext cx="2547688" cy="1480336"/>
            <a:chOff x="2961897" y="5410073"/>
            <a:chExt cx="2547688" cy="1480336"/>
          </a:xfrm>
        </p:grpSpPr>
        <p:sp>
          <p:nvSpPr>
            <p:cNvPr id="412" name="TextBox 411"/>
            <p:cNvSpPr txBox="1"/>
            <p:nvPr/>
          </p:nvSpPr>
          <p:spPr>
            <a:xfrm>
              <a:off x="2961897" y="5410073"/>
              <a:ext cx="2544296" cy="123111"/>
            </a:xfrm>
            <a:prstGeom prst="rect">
              <a:avLst/>
            </a:prstGeom>
            <a:noFill/>
          </p:spPr>
          <p:txBody>
            <a:bodyPr wrap="square" lIns="0" tIns="0" rIns="0" bIns="0" rtlCol="0">
              <a:spAutoFit/>
            </a:bodyPr>
            <a:lstStyle/>
            <a:p>
              <a:r>
                <a:rPr lang="en-US" sz="800" b="1" dirty="0" smtClean="0">
                  <a:solidFill>
                    <a:schemeClr val="tx1">
                      <a:lumMod val="50000"/>
                      <a:lumOff val="50000"/>
                    </a:schemeClr>
                  </a:solidFill>
                  <a:ea typeface="Impact" charset="0"/>
                  <a:cs typeface="Impact" charset="0"/>
                </a:rPr>
                <a:t>Prácticas Globales por Funciones</a:t>
              </a:r>
              <a:endParaRPr lang="en-US" sz="800" b="1" dirty="0">
                <a:solidFill>
                  <a:schemeClr val="tx1">
                    <a:lumMod val="50000"/>
                    <a:lumOff val="50000"/>
                  </a:schemeClr>
                </a:solidFill>
                <a:ea typeface="Impact" charset="0"/>
                <a:cs typeface="Impact" charset="0"/>
              </a:endParaRPr>
            </a:p>
          </p:txBody>
        </p:sp>
        <p:sp>
          <p:nvSpPr>
            <p:cNvPr id="413" name="TextBox 412"/>
            <p:cNvSpPr txBox="1"/>
            <p:nvPr/>
          </p:nvSpPr>
          <p:spPr>
            <a:xfrm>
              <a:off x="2961897" y="5674692"/>
              <a:ext cx="2547688" cy="1215717"/>
            </a:xfrm>
            <a:prstGeom prst="rect">
              <a:avLst/>
            </a:prstGeom>
            <a:noFill/>
          </p:spPr>
          <p:txBody>
            <a:bodyPr wrap="square" lIns="0" tIns="0" rIns="0" bIns="0" rtlCol="0">
              <a:spAutoFit/>
            </a:bodyPr>
            <a:lstStyle/>
            <a:p>
              <a:pPr marL="171450" indent="-171450">
                <a:spcBef>
                  <a:spcPts val="300"/>
                </a:spcBef>
                <a:buClr>
                  <a:schemeClr val="accent1"/>
                </a:buClr>
                <a:buFont typeface="Garamond" panose="02020404030301010803" pitchFamily="18" charset="0"/>
                <a:buChar char="►"/>
              </a:pPr>
              <a:r>
                <a:rPr lang="en-US" sz="800" dirty="0">
                  <a:solidFill>
                    <a:schemeClr val="tx1">
                      <a:lumMod val="50000"/>
                      <a:lumOff val="50000"/>
                    </a:schemeClr>
                  </a:solidFill>
                </a:rPr>
                <a:t>CEO </a:t>
              </a:r>
              <a:r>
                <a:rPr lang="en-US" sz="800" dirty="0" smtClean="0">
                  <a:solidFill>
                    <a:schemeClr val="tx1">
                      <a:lumMod val="50000"/>
                      <a:lumOff val="50000"/>
                    </a:schemeClr>
                  </a:solidFill>
                </a:rPr>
                <a:t>y Consejos de Administración</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Directores Financieros</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Directores de Recursos Humanos</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dirty="0" smtClean="0">
                  <a:solidFill>
                    <a:schemeClr val="tx1">
                      <a:lumMod val="50000"/>
                      <a:lumOff val="50000"/>
                    </a:schemeClr>
                  </a:solidFill>
                </a:rPr>
                <a:t>Directores de Tecnología</a:t>
              </a:r>
              <a:endParaRPr lang="en-GB"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US" sz="800" dirty="0">
                  <a:solidFill>
                    <a:schemeClr val="tx1">
                      <a:lumMod val="50000"/>
                      <a:lumOff val="50000"/>
                    </a:schemeClr>
                  </a:solidFill>
                </a:rPr>
                <a:t>Legal, </a:t>
              </a:r>
              <a:r>
                <a:rPr lang="en-US" sz="800" dirty="0" smtClean="0">
                  <a:solidFill>
                    <a:schemeClr val="tx1">
                      <a:lumMod val="50000"/>
                      <a:lumOff val="50000"/>
                    </a:schemeClr>
                  </a:solidFill>
                </a:rPr>
                <a:t>Riesgo, Compliance y Asuntos Gubernamentales</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dirty="0" smtClean="0">
                  <a:solidFill>
                    <a:schemeClr val="tx1">
                      <a:lumMod val="50000"/>
                      <a:lumOff val="50000"/>
                    </a:schemeClr>
                  </a:solidFill>
                </a:rPr>
                <a:t>Directores de Marketing</a:t>
              </a:r>
              <a:r>
                <a:rPr lang="en-GB" sz="800" dirty="0">
                  <a:solidFill>
                    <a:schemeClr val="tx1">
                      <a:lumMod val="50000"/>
                      <a:lumOff val="50000"/>
                    </a:schemeClr>
                  </a:solidFill>
                </a:rPr>
                <a:t>, </a:t>
              </a:r>
              <a:r>
                <a:rPr lang="en-GB" sz="800" dirty="0" smtClean="0">
                  <a:solidFill>
                    <a:schemeClr val="tx1">
                      <a:lumMod val="50000"/>
                      <a:lumOff val="50000"/>
                    </a:schemeClr>
                  </a:solidFill>
                </a:rPr>
                <a:t>Ventas y Estrategia</a:t>
              </a:r>
              <a:endParaRPr lang="en-GB"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GB" sz="800" dirty="0" smtClean="0">
                  <a:solidFill>
                    <a:schemeClr val="tx1">
                      <a:lumMod val="50000"/>
                      <a:lumOff val="50000"/>
                    </a:schemeClr>
                  </a:solidFill>
                </a:rPr>
                <a:t>Cadena de Suministro y Operaciones</a:t>
              </a:r>
              <a:endParaRPr lang="en-US" sz="800" dirty="0">
                <a:solidFill>
                  <a:schemeClr val="tx1">
                    <a:lumMod val="50000"/>
                    <a:lumOff val="50000"/>
                  </a:schemeClr>
                </a:solidFill>
              </a:endParaRPr>
            </a:p>
          </p:txBody>
        </p:sp>
      </p:grpSp>
      <p:grpSp>
        <p:nvGrpSpPr>
          <p:cNvPr id="19" name="Group 18"/>
          <p:cNvGrpSpPr/>
          <p:nvPr/>
        </p:nvGrpSpPr>
        <p:grpSpPr>
          <a:xfrm>
            <a:off x="5966533" y="5428733"/>
            <a:ext cx="1584001" cy="1231404"/>
            <a:chOff x="5856194" y="5410073"/>
            <a:chExt cx="1584001" cy="1084801"/>
          </a:xfrm>
        </p:grpSpPr>
        <p:sp>
          <p:nvSpPr>
            <p:cNvPr id="415" name="TextBox 414"/>
            <p:cNvSpPr txBox="1"/>
            <p:nvPr/>
          </p:nvSpPr>
          <p:spPr>
            <a:xfrm>
              <a:off x="5856194" y="5410073"/>
              <a:ext cx="1584000" cy="246221"/>
            </a:xfrm>
            <a:prstGeom prst="rect">
              <a:avLst/>
            </a:prstGeom>
            <a:noFill/>
          </p:spPr>
          <p:txBody>
            <a:bodyPr wrap="square" lIns="0" tIns="0" rIns="0" bIns="0" rtlCol="0">
              <a:spAutoFit/>
            </a:bodyPr>
            <a:lstStyle/>
            <a:p>
              <a:r>
                <a:rPr lang="en-US" sz="800" b="1" dirty="0" smtClean="0">
                  <a:solidFill>
                    <a:schemeClr val="tx1">
                      <a:lumMod val="50000"/>
                      <a:lumOff val="50000"/>
                    </a:schemeClr>
                  </a:solidFill>
                  <a:ea typeface="Impact" charset="0"/>
                  <a:cs typeface="Impact" charset="0"/>
                </a:rPr>
                <a:t>Prácticas Locales y Especialidades</a:t>
              </a:r>
              <a:endParaRPr lang="en-US" sz="800" b="1" dirty="0">
                <a:solidFill>
                  <a:schemeClr val="tx1">
                    <a:lumMod val="50000"/>
                    <a:lumOff val="50000"/>
                  </a:schemeClr>
                </a:solidFill>
                <a:ea typeface="Impact" charset="0"/>
                <a:cs typeface="Impact" charset="0"/>
              </a:endParaRPr>
            </a:p>
          </p:txBody>
        </p:sp>
        <p:sp>
          <p:nvSpPr>
            <p:cNvPr id="416" name="TextBox 415"/>
            <p:cNvSpPr txBox="1"/>
            <p:nvPr/>
          </p:nvSpPr>
          <p:spPr>
            <a:xfrm>
              <a:off x="5856195" y="5674692"/>
              <a:ext cx="1584000" cy="820182"/>
            </a:xfrm>
            <a:prstGeom prst="rect">
              <a:avLst/>
            </a:prstGeom>
            <a:noFill/>
          </p:spPr>
          <p:txBody>
            <a:bodyPr wrap="square" lIns="0" tIns="0" rIns="0" bIns="0" rtlCol="0">
              <a:spAutoFit/>
            </a:bodyPr>
            <a:lstStyle/>
            <a:p>
              <a:pPr marL="171450" indent="-171450">
                <a:spcBef>
                  <a:spcPts val="300"/>
                </a:spcBef>
                <a:buClr>
                  <a:schemeClr val="accent1"/>
                </a:buClr>
                <a:buFont typeface="Garamond" panose="02020404030301010803" pitchFamily="18" charset="0"/>
                <a:buChar char="►"/>
              </a:pPr>
              <a:r>
                <a:rPr lang="en-US" sz="800" i="1" dirty="0">
                  <a:solidFill>
                    <a:schemeClr val="tx1">
                      <a:lumMod val="50000"/>
                      <a:lumOff val="50000"/>
                    </a:schemeClr>
                  </a:solidFill>
                </a:rPr>
                <a:t>Big Data &amp; Analytics</a:t>
              </a:r>
            </a:p>
            <a:p>
              <a:pPr marL="171450" indent="-171450">
                <a:spcBef>
                  <a:spcPts val="300"/>
                </a:spcBef>
                <a:buClr>
                  <a:schemeClr val="accent1"/>
                </a:buClr>
                <a:buFont typeface="Garamond" panose="02020404030301010803" pitchFamily="18" charset="0"/>
                <a:buChar char="►"/>
              </a:pPr>
              <a:r>
                <a:rPr lang="en-US" sz="800" i="1" dirty="0">
                  <a:solidFill>
                    <a:schemeClr val="tx1">
                      <a:lumMod val="50000"/>
                      <a:lumOff val="50000"/>
                    </a:schemeClr>
                  </a:solidFill>
                </a:rPr>
                <a:t>Cloud</a:t>
              </a: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Ciberseguridad</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Servicios de Diversidad</a:t>
              </a:r>
              <a:endParaRPr lang="en-US" sz="800" dirty="0">
                <a:solidFill>
                  <a:schemeClr val="tx1">
                    <a:lumMod val="50000"/>
                    <a:lumOff val="50000"/>
                  </a:schemeClr>
                </a:solidFill>
              </a:endParaRPr>
            </a:p>
            <a:p>
              <a:pPr marL="171450" indent="-171450">
                <a:spcBef>
                  <a:spcPts val="300"/>
                </a:spcBef>
                <a:buClr>
                  <a:schemeClr val="accent1"/>
                </a:buClr>
                <a:buFont typeface="Garamond" panose="02020404030301010803" pitchFamily="18" charset="0"/>
                <a:buChar char="►"/>
              </a:pPr>
              <a:r>
                <a:rPr lang="en-US" sz="800" i="1" dirty="0">
                  <a:solidFill>
                    <a:schemeClr val="tx1">
                      <a:lumMod val="50000"/>
                      <a:lumOff val="50000"/>
                    </a:schemeClr>
                  </a:solidFill>
                </a:rPr>
                <a:t>Internet of Things</a:t>
              </a:r>
            </a:p>
            <a:p>
              <a:pPr marL="171450" indent="-171450">
                <a:spcBef>
                  <a:spcPts val="300"/>
                </a:spcBef>
                <a:buClr>
                  <a:schemeClr val="accent1"/>
                </a:buClr>
                <a:buFont typeface="Garamond" panose="02020404030301010803" pitchFamily="18" charset="0"/>
                <a:buChar char="►"/>
              </a:pPr>
              <a:r>
                <a:rPr lang="en-US" sz="800" dirty="0" smtClean="0">
                  <a:solidFill>
                    <a:schemeClr val="tx1">
                      <a:lumMod val="50000"/>
                      <a:lumOff val="50000"/>
                    </a:schemeClr>
                  </a:solidFill>
                </a:rPr>
                <a:t>Mobilidad</a:t>
              </a:r>
              <a:endParaRPr lang="en-US" sz="800" dirty="0">
                <a:solidFill>
                  <a:schemeClr val="tx1">
                    <a:lumMod val="50000"/>
                    <a:lumOff val="50000"/>
                  </a:schemeClr>
                </a:solidFill>
              </a:endParaRPr>
            </a:p>
          </p:txBody>
        </p:sp>
      </p:grpSp>
      <p:sp>
        <p:nvSpPr>
          <p:cNvPr id="417" name="TextBox 416"/>
          <p:cNvSpPr txBox="1"/>
          <p:nvPr/>
        </p:nvSpPr>
        <p:spPr>
          <a:xfrm>
            <a:off x="378572" y="5033098"/>
            <a:ext cx="5716594" cy="276999"/>
          </a:xfrm>
          <a:prstGeom prst="rect">
            <a:avLst/>
          </a:prstGeom>
          <a:noFill/>
        </p:spPr>
        <p:txBody>
          <a:bodyPr wrap="square" lIns="0" tIns="0" rIns="0" bIns="0" rtlCol="0">
            <a:spAutoFit/>
          </a:bodyPr>
          <a:lstStyle/>
          <a:p>
            <a:r>
              <a:rPr lang="en-US" sz="1800" dirty="0" smtClean="0">
                <a:solidFill>
                  <a:schemeClr val="tx1">
                    <a:lumMod val="50000"/>
                    <a:lumOff val="50000"/>
                  </a:schemeClr>
                </a:solidFill>
                <a:latin typeface="Impact" panose="020B0806030902050204" pitchFamily="34" charset="0"/>
              </a:rPr>
              <a:t>Industrias  y prácticas de Heidrick &amp; Struggles</a:t>
            </a:r>
            <a:endParaRPr lang="en-US" sz="1800" dirty="0">
              <a:solidFill>
                <a:schemeClr val="tx1">
                  <a:lumMod val="50000"/>
                  <a:lumOff val="50000"/>
                </a:schemeClr>
              </a:solidFill>
              <a:latin typeface="Impact" panose="020B0806030902050204" pitchFamily="34" charset="0"/>
            </a:endParaRPr>
          </a:p>
        </p:txBody>
      </p:sp>
      <p:cxnSp>
        <p:nvCxnSpPr>
          <p:cNvPr id="418" name="Straight Connector 417"/>
          <p:cNvCxnSpPr/>
          <p:nvPr/>
        </p:nvCxnSpPr>
        <p:spPr>
          <a:xfrm rot="10800000" flipV="1">
            <a:off x="7749092" y="5488095"/>
            <a:ext cx="0" cy="1397674"/>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rot="10800000" flipV="1">
            <a:off x="5767976" y="5504935"/>
            <a:ext cx="0" cy="128102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rot="10800000" flipV="1">
            <a:off x="2823174" y="5504936"/>
            <a:ext cx="0" cy="128102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50747" y="3982240"/>
            <a:ext cx="1883989" cy="104304"/>
          </a:xfrm>
          <a:prstGeom prst="rect">
            <a:avLst/>
          </a:prstGeom>
        </p:spPr>
      </p:pic>
      <p:sp>
        <p:nvSpPr>
          <p:cNvPr id="373" name="Oval 372"/>
          <p:cNvSpPr/>
          <p:nvPr/>
        </p:nvSpPr>
        <p:spPr>
          <a:xfrm>
            <a:off x="413877" y="4259958"/>
            <a:ext cx="321180" cy="32118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GB" sz="2400" b="1"/>
              <a:t>!</a:t>
            </a:r>
            <a:endParaRPr lang="en-GB" sz="2400" b="1" dirty="0"/>
          </a:p>
        </p:txBody>
      </p:sp>
      <p:sp>
        <p:nvSpPr>
          <p:cNvPr id="3" name="TextBox 2"/>
          <p:cNvSpPr txBox="1"/>
          <p:nvPr/>
        </p:nvSpPr>
        <p:spPr>
          <a:xfrm>
            <a:off x="342900" y="1061685"/>
            <a:ext cx="9146694" cy="907941"/>
          </a:xfrm>
          <a:prstGeom prst="rect">
            <a:avLst/>
          </a:prstGeom>
          <a:noFill/>
        </p:spPr>
        <p:txBody>
          <a:bodyPr wrap="square" rtlCol="0">
            <a:spAutoFit/>
          </a:bodyPr>
          <a:lstStyle/>
          <a:p>
            <a:pPr>
              <a:spcAft>
                <a:spcPts val="600"/>
              </a:spcAft>
            </a:pPr>
            <a:r>
              <a:rPr lang="es-ES" sz="2400" dirty="0" smtClean="0">
                <a:solidFill>
                  <a:schemeClr val="tx2"/>
                </a:solidFill>
                <a:latin typeface="Arial" panose="020B0604020202020204" pitchFamily="34" charset="0"/>
                <a:cs typeface="Arial" panose="020B0604020202020204" pitchFamily="34" charset="0"/>
              </a:rPr>
              <a:t>AYUDAMOS A NUESTROS CLIENTES A CAMBIAR EL MUNDO,</a:t>
            </a:r>
          </a:p>
          <a:p>
            <a:r>
              <a:rPr lang="es-ES" sz="2400" dirty="0" smtClean="0">
                <a:solidFill>
                  <a:schemeClr val="tx2"/>
                </a:solidFill>
                <a:latin typeface="Arial" panose="020B0604020202020204" pitchFamily="34" charset="0"/>
                <a:cs typeface="Arial" panose="020B0604020202020204" pitchFamily="34" charset="0"/>
              </a:rPr>
              <a:t>UN EQUIPO CADA VEZ.</a:t>
            </a:r>
            <a:endParaRPr lang="en-US" sz="2400" dirty="0" smtClean="0">
              <a:solidFill>
                <a:schemeClr val="tx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2116977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idrick &amp; Struggles – Nuestros servicios</a:t>
            </a:r>
            <a:endParaRPr lang="en-US" dirty="0">
              <a:solidFill>
                <a:srgbClr val="FF0000"/>
              </a:solidFill>
            </a:endParaRPr>
          </a:p>
        </p:txBody>
      </p:sp>
      <p:sp>
        <p:nvSpPr>
          <p:cNvPr id="18" name="_color1"/>
          <p:cNvSpPr>
            <a:spLocks noChangeArrowheads="1"/>
          </p:cNvSpPr>
          <p:nvPr/>
        </p:nvSpPr>
        <p:spPr bwMode="gray">
          <a:xfrm rot="16200000">
            <a:off x="-2189538" y="3723243"/>
            <a:ext cx="5492702" cy="404748"/>
          </a:xfrm>
          <a:prstGeom prst="rect">
            <a:avLst/>
          </a:prstGeom>
          <a:solidFill>
            <a:srgbClr val="8C99AC"/>
          </a:solidFill>
          <a:ln w="12700" cmpd="sng" algn="ctr">
            <a:solidFill>
              <a:srgbClr val="8C99AC"/>
            </a:solidFill>
            <a:miter lim="800000"/>
            <a:headEnd/>
            <a:tailEnd/>
          </a:ln>
          <a:effectLst/>
        </p:spPr>
        <p:txBody>
          <a:bodyPr wrap="square" lIns="118584" tIns="79056" rIns="118584" bIns="79056"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marL="209169" indent="-209169" algn="ctr">
              <a:lnSpc>
                <a:spcPct val="95000"/>
              </a:lnSpc>
              <a:spcAft>
                <a:spcPct val="40000"/>
              </a:spcAft>
              <a:buClr>
                <a:srgbClr val="000000"/>
              </a:buClr>
              <a:defRPr/>
            </a:pPr>
            <a:r>
              <a:rPr lang="en-US" sz="1800" b="1" noProof="1" smtClean="0">
                <a:solidFill>
                  <a:schemeClr val="bg2"/>
                </a:solidFill>
                <a:latin typeface="Verdana"/>
                <a:cs typeface="Arial" charset="0"/>
              </a:rPr>
              <a:t>Servicios Integrados</a:t>
            </a:r>
            <a:endParaRPr lang="en-US" sz="1800" b="1" noProof="1">
              <a:solidFill>
                <a:schemeClr val="bg2"/>
              </a:solidFill>
              <a:latin typeface="Verdana"/>
              <a:cs typeface="Arial" charset="0"/>
            </a:endParaRPr>
          </a:p>
        </p:txBody>
      </p:sp>
      <p:sp>
        <p:nvSpPr>
          <p:cNvPr id="22" name="_color1"/>
          <p:cNvSpPr>
            <a:spLocks noChangeArrowheads="1"/>
          </p:cNvSpPr>
          <p:nvPr/>
        </p:nvSpPr>
        <p:spPr bwMode="gray">
          <a:xfrm>
            <a:off x="907984" y="1179266"/>
            <a:ext cx="4713583" cy="1758902"/>
          </a:xfrm>
          <a:prstGeom prst="homePlate">
            <a:avLst>
              <a:gd name="adj" fmla="val 24308"/>
            </a:avLst>
          </a:prstGeom>
          <a:solidFill>
            <a:srgbClr val="8C99AC"/>
          </a:solidFill>
          <a:ln w="0">
            <a:solidFill>
              <a:schemeClr val="accent1"/>
            </a:solidFill>
            <a:miter lim="800000"/>
            <a:headEnd/>
            <a:tailEnd/>
          </a:ln>
          <a:effectLst/>
        </p:spPr>
        <p:txBody>
          <a:bodyPr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r>
              <a:rPr lang="en-GB" sz="1600" b="1" noProof="1">
                <a:solidFill>
                  <a:srgbClr val="FFFFFF"/>
                </a:solidFill>
                <a:cs typeface="Arial" charset="0"/>
              </a:rPr>
              <a:t>Executive </a:t>
            </a:r>
            <a:r>
              <a:rPr lang="en-GB" sz="1600" b="1" noProof="1" smtClean="0">
                <a:solidFill>
                  <a:srgbClr val="FFFFFF"/>
                </a:solidFill>
                <a:cs typeface="Arial" charset="0"/>
              </a:rPr>
              <a:t>Search</a:t>
            </a:r>
          </a:p>
          <a:p>
            <a:pPr defTabSz="879475">
              <a:lnSpc>
                <a:spcPct val="95000"/>
              </a:lnSpc>
              <a:spcAft>
                <a:spcPts val="875"/>
              </a:spcAft>
            </a:pPr>
            <a:r>
              <a:rPr lang="es-ES_tradnl" sz="1400" noProof="1" smtClean="0">
                <a:solidFill>
                  <a:srgbClr val="FFFFFF"/>
                </a:solidFill>
                <a:cs typeface="Arial" charset="0"/>
              </a:rPr>
              <a:t>Construir equipos de liderazgo basados en las necesidades estratégicas de nuestros clientes y su encaje cultural utilizando nuestros análisis rigurosos y nuestro acceso global al talento.</a:t>
            </a:r>
            <a:endParaRPr lang="es-ES_tradnl" sz="1600" noProof="1">
              <a:solidFill>
                <a:srgbClr val="FFFFFF"/>
              </a:solidFill>
              <a:cs typeface="Arial" charset="0"/>
            </a:endParaRPr>
          </a:p>
        </p:txBody>
      </p:sp>
      <p:sp>
        <p:nvSpPr>
          <p:cNvPr id="24" name="Freihandform 31"/>
          <p:cNvSpPr/>
          <p:nvPr/>
        </p:nvSpPr>
        <p:spPr bwMode="gray">
          <a:xfrm>
            <a:off x="5439622" y="1179266"/>
            <a:ext cx="4267200" cy="5492702"/>
          </a:xfrm>
          <a:custGeom>
            <a:avLst/>
            <a:gdLst>
              <a:gd name="connsiteX0" fmla="*/ 0 w 3028950"/>
              <a:gd name="connsiteY0" fmla="*/ 0 h 4246562"/>
              <a:gd name="connsiteX1" fmla="*/ 3028950 w 3028950"/>
              <a:gd name="connsiteY1" fmla="*/ 0 h 4246562"/>
              <a:gd name="connsiteX2" fmla="*/ 3028950 w 3028950"/>
              <a:gd name="connsiteY2" fmla="*/ 4246562 h 4246562"/>
              <a:gd name="connsiteX3" fmla="*/ 0 w 3028950"/>
              <a:gd name="connsiteY3" fmla="*/ 4246562 h 4246562"/>
              <a:gd name="connsiteX4" fmla="*/ 0 w 3028950"/>
              <a:gd name="connsiteY4" fmla="*/ 0 h 4246562"/>
              <a:gd name="connsiteX0" fmla="*/ 6351 w 3035301"/>
              <a:gd name="connsiteY0" fmla="*/ 0 h 4246562"/>
              <a:gd name="connsiteX1" fmla="*/ 3035301 w 3035301"/>
              <a:gd name="connsiteY1" fmla="*/ 0 h 4246562"/>
              <a:gd name="connsiteX2" fmla="*/ 3035301 w 3035301"/>
              <a:gd name="connsiteY2" fmla="*/ 4246562 h 4246562"/>
              <a:gd name="connsiteX3" fmla="*/ 6351 w 3035301"/>
              <a:gd name="connsiteY3" fmla="*/ 4246562 h 4246562"/>
              <a:gd name="connsiteX4" fmla="*/ 0 w 3035301"/>
              <a:gd name="connsiteY4" fmla="*/ 666749 h 4246562"/>
              <a:gd name="connsiteX5" fmla="*/ 6351 w 3035301"/>
              <a:gd name="connsiteY5" fmla="*/ 0 h 4246562"/>
              <a:gd name="connsiteX0" fmla="*/ 0 w 3028950"/>
              <a:gd name="connsiteY0" fmla="*/ 0 h 4246562"/>
              <a:gd name="connsiteX1" fmla="*/ 3028950 w 3028950"/>
              <a:gd name="connsiteY1" fmla="*/ 0 h 4246562"/>
              <a:gd name="connsiteX2" fmla="*/ 3028950 w 3028950"/>
              <a:gd name="connsiteY2" fmla="*/ 4246562 h 4246562"/>
              <a:gd name="connsiteX3" fmla="*/ 0 w 3028950"/>
              <a:gd name="connsiteY3" fmla="*/ 4246562 h 4246562"/>
              <a:gd name="connsiteX4" fmla="*/ 292100 w 3028950"/>
              <a:gd name="connsiteY4" fmla="*/ 673099 h 4246562"/>
              <a:gd name="connsiteX5" fmla="*/ 0 w 3028950"/>
              <a:gd name="connsiteY5" fmla="*/ 0 h 4246562"/>
              <a:gd name="connsiteX0" fmla="*/ 0 w 3028950"/>
              <a:gd name="connsiteY0" fmla="*/ 0 h 4246562"/>
              <a:gd name="connsiteX1" fmla="*/ 3028950 w 3028950"/>
              <a:gd name="connsiteY1" fmla="*/ 0 h 4246562"/>
              <a:gd name="connsiteX2" fmla="*/ 3028950 w 3028950"/>
              <a:gd name="connsiteY2" fmla="*/ 4246562 h 4246562"/>
              <a:gd name="connsiteX3" fmla="*/ 0 w 3028950"/>
              <a:gd name="connsiteY3" fmla="*/ 4246562 h 4246562"/>
              <a:gd name="connsiteX4" fmla="*/ 234949 w 3028950"/>
              <a:gd name="connsiteY4" fmla="*/ 1314449 h 4246562"/>
              <a:gd name="connsiteX5" fmla="*/ 292100 w 3028950"/>
              <a:gd name="connsiteY5" fmla="*/ 673099 h 4246562"/>
              <a:gd name="connsiteX6" fmla="*/ 0 w 3028950"/>
              <a:gd name="connsiteY6" fmla="*/ 0 h 4246562"/>
              <a:gd name="connsiteX0" fmla="*/ 0 w 3028950"/>
              <a:gd name="connsiteY0" fmla="*/ 0 h 4246562"/>
              <a:gd name="connsiteX1" fmla="*/ 3028950 w 3028950"/>
              <a:gd name="connsiteY1" fmla="*/ 0 h 4246562"/>
              <a:gd name="connsiteX2" fmla="*/ 3028950 w 3028950"/>
              <a:gd name="connsiteY2" fmla="*/ 4246562 h 4246562"/>
              <a:gd name="connsiteX3" fmla="*/ 0 w 3028950"/>
              <a:gd name="connsiteY3" fmla="*/ 4246562 h 4246562"/>
              <a:gd name="connsiteX4" fmla="*/ 0 w 3028950"/>
              <a:gd name="connsiteY4" fmla="*/ 1319212 h 4246562"/>
              <a:gd name="connsiteX5" fmla="*/ 292100 w 3028950"/>
              <a:gd name="connsiteY5" fmla="*/ 673099 h 4246562"/>
              <a:gd name="connsiteX6" fmla="*/ 0 w 3028950"/>
              <a:gd name="connsiteY6" fmla="*/ 0 h 4246562"/>
              <a:gd name="connsiteX0" fmla="*/ 73026 w 3101976"/>
              <a:gd name="connsiteY0" fmla="*/ 0 h 4246562"/>
              <a:gd name="connsiteX1" fmla="*/ 3101976 w 3101976"/>
              <a:gd name="connsiteY1" fmla="*/ 0 h 4246562"/>
              <a:gd name="connsiteX2" fmla="*/ 3101976 w 3101976"/>
              <a:gd name="connsiteY2" fmla="*/ 4246562 h 4246562"/>
              <a:gd name="connsiteX3" fmla="*/ 73026 w 3101976"/>
              <a:gd name="connsiteY3" fmla="*/ 4246562 h 4246562"/>
              <a:gd name="connsiteX4" fmla="*/ 0 w 3101976"/>
              <a:gd name="connsiteY4" fmla="*/ 1463674 h 4246562"/>
              <a:gd name="connsiteX5" fmla="*/ 365126 w 3101976"/>
              <a:gd name="connsiteY5" fmla="*/ 673099 h 4246562"/>
              <a:gd name="connsiteX6" fmla="*/ 73026 w 3101976"/>
              <a:gd name="connsiteY6" fmla="*/ 0 h 4246562"/>
              <a:gd name="connsiteX0" fmla="*/ 73026 w 3101976"/>
              <a:gd name="connsiteY0" fmla="*/ 0 h 4246562"/>
              <a:gd name="connsiteX1" fmla="*/ 3101976 w 3101976"/>
              <a:gd name="connsiteY1" fmla="*/ 0 h 4246562"/>
              <a:gd name="connsiteX2" fmla="*/ 3101976 w 3101976"/>
              <a:gd name="connsiteY2" fmla="*/ 4246562 h 4246562"/>
              <a:gd name="connsiteX3" fmla="*/ 73026 w 3101976"/>
              <a:gd name="connsiteY3" fmla="*/ 4246562 h 4246562"/>
              <a:gd name="connsiteX4" fmla="*/ 0 w 3101976"/>
              <a:gd name="connsiteY4" fmla="*/ 1463674 h 4246562"/>
              <a:gd name="connsiteX5" fmla="*/ 365126 w 3101976"/>
              <a:gd name="connsiteY5" fmla="*/ 673099 h 4246562"/>
              <a:gd name="connsiteX6" fmla="*/ 73026 w 3101976"/>
              <a:gd name="connsiteY6" fmla="*/ 0 h 4246562"/>
              <a:gd name="connsiteX0" fmla="*/ 1 w 3028951"/>
              <a:gd name="connsiteY0" fmla="*/ 0 h 4246562"/>
              <a:gd name="connsiteX1" fmla="*/ 3028951 w 3028951"/>
              <a:gd name="connsiteY1" fmla="*/ 0 h 4246562"/>
              <a:gd name="connsiteX2" fmla="*/ 3028951 w 3028951"/>
              <a:gd name="connsiteY2" fmla="*/ 4246562 h 4246562"/>
              <a:gd name="connsiteX3" fmla="*/ 1 w 3028951"/>
              <a:gd name="connsiteY3" fmla="*/ 4246562 h 4246562"/>
              <a:gd name="connsiteX4" fmla="*/ 0 w 3028951"/>
              <a:gd name="connsiteY4" fmla="*/ 1319212 h 4246562"/>
              <a:gd name="connsiteX5" fmla="*/ 292101 w 3028951"/>
              <a:gd name="connsiteY5" fmla="*/ 673099 h 4246562"/>
              <a:gd name="connsiteX6" fmla="*/ 1 w 3028951"/>
              <a:gd name="connsiteY6" fmla="*/ 0 h 4246562"/>
              <a:gd name="connsiteX0" fmla="*/ 504825 w 3533775"/>
              <a:gd name="connsiteY0" fmla="*/ 0 h 4246562"/>
              <a:gd name="connsiteX1" fmla="*/ 3533775 w 3533775"/>
              <a:gd name="connsiteY1" fmla="*/ 0 h 4246562"/>
              <a:gd name="connsiteX2" fmla="*/ 3533775 w 3533775"/>
              <a:gd name="connsiteY2" fmla="*/ 4246562 h 4246562"/>
              <a:gd name="connsiteX3" fmla="*/ 504825 w 3533775"/>
              <a:gd name="connsiteY3" fmla="*/ 4246562 h 4246562"/>
              <a:gd name="connsiteX4" fmla="*/ 504824 w 3533775"/>
              <a:gd name="connsiteY4" fmla="*/ 1473199 h 4246562"/>
              <a:gd name="connsiteX5" fmla="*/ 504824 w 3533775"/>
              <a:gd name="connsiteY5" fmla="*/ 1319212 h 4246562"/>
              <a:gd name="connsiteX6" fmla="*/ 796925 w 3533775"/>
              <a:gd name="connsiteY6" fmla="*/ 673099 h 4246562"/>
              <a:gd name="connsiteX7" fmla="*/ 504825 w 3533775"/>
              <a:gd name="connsiteY7" fmla="*/ 0 h 4246562"/>
              <a:gd name="connsiteX0" fmla="*/ 517525 w 3546475"/>
              <a:gd name="connsiteY0" fmla="*/ 0 h 4246562"/>
              <a:gd name="connsiteX1" fmla="*/ 3546475 w 3546475"/>
              <a:gd name="connsiteY1" fmla="*/ 0 h 4246562"/>
              <a:gd name="connsiteX2" fmla="*/ 3546475 w 3546475"/>
              <a:gd name="connsiteY2" fmla="*/ 4246562 h 4246562"/>
              <a:gd name="connsiteX3" fmla="*/ 517525 w 3546475"/>
              <a:gd name="connsiteY3" fmla="*/ 4246562 h 4246562"/>
              <a:gd name="connsiteX4" fmla="*/ 441324 w 3546475"/>
              <a:gd name="connsiteY4" fmla="*/ 2101849 h 4246562"/>
              <a:gd name="connsiteX5" fmla="*/ 517524 w 3546475"/>
              <a:gd name="connsiteY5" fmla="*/ 1473199 h 4246562"/>
              <a:gd name="connsiteX6" fmla="*/ 517524 w 3546475"/>
              <a:gd name="connsiteY6" fmla="*/ 1319212 h 4246562"/>
              <a:gd name="connsiteX7" fmla="*/ 809625 w 3546475"/>
              <a:gd name="connsiteY7" fmla="*/ 673099 h 4246562"/>
              <a:gd name="connsiteX8" fmla="*/ 517525 w 3546475"/>
              <a:gd name="connsiteY8" fmla="*/ 0 h 4246562"/>
              <a:gd name="connsiteX0" fmla="*/ 517525 w 3546475"/>
              <a:gd name="connsiteY0" fmla="*/ 0 h 4246562"/>
              <a:gd name="connsiteX1" fmla="*/ 3546475 w 3546475"/>
              <a:gd name="connsiteY1" fmla="*/ 0 h 4246562"/>
              <a:gd name="connsiteX2" fmla="*/ 3546475 w 3546475"/>
              <a:gd name="connsiteY2" fmla="*/ 4246562 h 4246562"/>
              <a:gd name="connsiteX3" fmla="*/ 517525 w 3546475"/>
              <a:gd name="connsiteY3" fmla="*/ 4246562 h 4246562"/>
              <a:gd name="connsiteX4" fmla="*/ 809624 w 3546475"/>
              <a:gd name="connsiteY4" fmla="*/ 2120899 h 4246562"/>
              <a:gd name="connsiteX5" fmla="*/ 517524 w 3546475"/>
              <a:gd name="connsiteY5" fmla="*/ 1473199 h 4246562"/>
              <a:gd name="connsiteX6" fmla="*/ 517524 w 3546475"/>
              <a:gd name="connsiteY6" fmla="*/ 1319212 h 4246562"/>
              <a:gd name="connsiteX7" fmla="*/ 809625 w 3546475"/>
              <a:gd name="connsiteY7" fmla="*/ 673099 h 4246562"/>
              <a:gd name="connsiteX8" fmla="*/ 517525 w 3546475"/>
              <a:gd name="connsiteY8" fmla="*/ 0 h 4246562"/>
              <a:gd name="connsiteX0" fmla="*/ 517525 w 3546475"/>
              <a:gd name="connsiteY0" fmla="*/ 0 h 4246562"/>
              <a:gd name="connsiteX1" fmla="*/ 3546475 w 3546475"/>
              <a:gd name="connsiteY1" fmla="*/ 0 h 4246562"/>
              <a:gd name="connsiteX2" fmla="*/ 3546475 w 3546475"/>
              <a:gd name="connsiteY2" fmla="*/ 4246562 h 4246562"/>
              <a:gd name="connsiteX3" fmla="*/ 517525 w 3546475"/>
              <a:gd name="connsiteY3" fmla="*/ 4246562 h 4246562"/>
              <a:gd name="connsiteX4" fmla="*/ 809624 w 3546475"/>
              <a:gd name="connsiteY4" fmla="*/ 2120899 h 4246562"/>
              <a:gd name="connsiteX5" fmla="*/ 517524 w 3546475"/>
              <a:gd name="connsiteY5" fmla="*/ 1473199 h 4246562"/>
              <a:gd name="connsiteX6" fmla="*/ 517524 w 3546475"/>
              <a:gd name="connsiteY6" fmla="*/ 1319212 h 4246562"/>
              <a:gd name="connsiteX7" fmla="*/ 809625 w 3546475"/>
              <a:gd name="connsiteY7" fmla="*/ 673099 h 4246562"/>
              <a:gd name="connsiteX8" fmla="*/ 517525 w 3546475"/>
              <a:gd name="connsiteY8" fmla="*/ 0 h 4246562"/>
              <a:gd name="connsiteX0" fmla="*/ 517525 w 3546475"/>
              <a:gd name="connsiteY0" fmla="*/ 0 h 4246562"/>
              <a:gd name="connsiteX1" fmla="*/ 3546475 w 3546475"/>
              <a:gd name="connsiteY1" fmla="*/ 0 h 4246562"/>
              <a:gd name="connsiteX2" fmla="*/ 3546475 w 3546475"/>
              <a:gd name="connsiteY2" fmla="*/ 4246562 h 4246562"/>
              <a:gd name="connsiteX3" fmla="*/ 517525 w 3546475"/>
              <a:gd name="connsiteY3" fmla="*/ 4246562 h 4246562"/>
              <a:gd name="connsiteX4" fmla="*/ 809624 w 3546475"/>
              <a:gd name="connsiteY4" fmla="*/ 2120899 h 4246562"/>
              <a:gd name="connsiteX5" fmla="*/ 517524 w 3546475"/>
              <a:gd name="connsiteY5" fmla="*/ 1473199 h 4246562"/>
              <a:gd name="connsiteX6" fmla="*/ 517524 w 3546475"/>
              <a:gd name="connsiteY6" fmla="*/ 1319212 h 4246562"/>
              <a:gd name="connsiteX7" fmla="*/ 809625 w 3546475"/>
              <a:gd name="connsiteY7" fmla="*/ 673099 h 4246562"/>
              <a:gd name="connsiteX8" fmla="*/ 517525 w 3546475"/>
              <a:gd name="connsiteY8" fmla="*/ 0 h 4246562"/>
              <a:gd name="connsiteX0" fmla="*/ 502708 w 3531658"/>
              <a:gd name="connsiteY0" fmla="*/ 0 h 4246562"/>
              <a:gd name="connsiteX1" fmla="*/ 3531658 w 3531658"/>
              <a:gd name="connsiteY1" fmla="*/ 0 h 4246562"/>
              <a:gd name="connsiteX2" fmla="*/ 3531658 w 3531658"/>
              <a:gd name="connsiteY2" fmla="*/ 4246562 h 4246562"/>
              <a:gd name="connsiteX3" fmla="*/ 502708 w 3531658"/>
              <a:gd name="connsiteY3" fmla="*/ 4246562 h 4246562"/>
              <a:gd name="connsiteX4" fmla="*/ 515407 w 3531658"/>
              <a:gd name="connsiteY4" fmla="*/ 2774949 h 4246562"/>
              <a:gd name="connsiteX5" fmla="*/ 794807 w 3531658"/>
              <a:gd name="connsiteY5" fmla="*/ 2120899 h 4246562"/>
              <a:gd name="connsiteX6" fmla="*/ 502707 w 3531658"/>
              <a:gd name="connsiteY6" fmla="*/ 1473199 h 4246562"/>
              <a:gd name="connsiteX7" fmla="*/ 502707 w 3531658"/>
              <a:gd name="connsiteY7" fmla="*/ 1319212 h 4246562"/>
              <a:gd name="connsiteX8" fmla="*/ 794808 w 3531658"/>
              <a:gd name="connsiteY8" fmla="*/ 673099 h 4246562"/>
              <a:gd name="connsiteX9" fmla="*/ 502708 w 3531658"/>
              <a:gd name="connsiteY9" fmla="*/ 0 h 4246562"/>
              <a:gd name="connsiteX0" fmla="*/ 502708 w 3531658"/>
              <a:gd name="connsiteY0" fmla="*/ 0 h 4246562"/>
              <a:gd name="connsiteX1" fmla="*/ 3531658 w 3531658"/>
              <a:gd name="connsiteY1" fmla="*/ 0 h 4246562"/>
              <a:gd name="connsiteX2" fmla="*/ 3531658 w 3531658"/>
              <a:gd name="connsiteY2" fmla="*/ 4246562 h 4246562"/>
              <a:gd name="connsiteX3" fmla="*/ 502708 w 3531658"/>
              <a:gd name="connsiteY3" fmla="*/ 4246562 h 4246562"/>
              <a:gd name="connsiteX4" fmla="*/ 515407 w 3531658"/>
              <a:gd name="connsiteY4" fmla="*/ 2774949 h 4246562"/>
              <a:gd name="connsiteX5" fmla="*/ 794807 w 3531658"/>
              <a:gd name="connsiteY5" fmla="*/ 2120899 h 4246562"/>
              <a:gd name="connsiteX6" fmla="*/ 502707 w 3531658"/>
              <a:gd name="connsiteY6" fmla="*/ 1473199 h 4246562"/>
              <a:gd name="connsiteX7" fmla="*/ 502707 w 3531658"/>
              <a:gd name="connsiteY7" fmla="*/ 1319212 h 4246562"/>
              <a:gd name="connsiteX8" fmla="*/ 794808 w 3531658"/>
              <a:gd name="connsiteY8" fmla="*/ 673099 h 4246562"/>
              <a:gd name="connsiteX9" fmla="*/ 502708 w 3531658"/>
              <a:gd name="connsiteY9" fmla="*/ 0 h 4246562"/>
              <a:gd name="connsiteX0" fmla="*/ 502708 w 3531658"/>
              <a:gd name="connsiteY0" fmla="*/ 0 h 4246562"/>
              <a:gd name="connsiteX1" fmla="*/ 3531658 w 3531658"/>
              <a:gd name="connsiteY1" fmla="*/ 0 h 4246562"/>
              <a:gd name="connsiteX2" fmla="*/ 3531658 w 3531658"/>
              <a:gd name="connsiteY2" fmla="*/ 4246562 h 4246562"/>
              <a:gd name="connsiteX3" fmla="*/ 502708 w 3531658"/>
              <a:gd name="connsiteY3" fmla="*/ 4246562 h 4246562"/>
              <a:gd name="connsiteX4" fmla="*/ 515407 w 3531658"/>
              <a:gd name="connsiteY4" fmla="*/ 2774949 h 4246562"/>
              <a:gd name="connsiteX5" fmla="*/ 794807 w 3531658"/>
              <a:gd name="connsiteY5" fmla="*/ 2120899 h 4246562"/>
              <a:gd name="connsiteX6" fmla="*/ 502707 w 3531658"/>
              <a:gd name="connsiteY6" fmla="*/ 1473199 h 4246562"/>
              <a:gd name="connsiteX7" fmla="*/ 502707 w 3531658"/>
              <a:gd name="connsiteY7" fmla="*/ 1319212 h 4246562"/>
              <a:gd name="connsiteX8" fmla="*/ 794808 w 3531658"/>
              <a:gd name="connsiteY8" fmla="*/ 673099 h 4246562"/>
              <a:gd name="connsiteX9" fmla="*/ 502708 w 3531658"/>
              <a:gd name="connsiteY9" fmla="*/ 0 h 4246562"/>
              <a:gd name="connsiteX0" fmla="*/ 502708 w 3531658"/>
              <a:gd name="connsiteY0" fmla="*/ 0 h 4246562"/>
              <a:gd name="connsiteX1" fmla="*/ 3531658 w 3531658"/>
              <a:gd name="connsiteY1" fmla="*/ 0 h 4246562"/>
              <a:gd name="connsiteX2" fmla="*/ 3531658 w 3531658"/>
              <a:gd name="connsiteY2" fmla="*/ 4246562 h 4246562"/>
              <a:gd name="connsiteX3" fmla="*/ 502708 w 3531658"/>
              <a:gd name="connsiteY3" fmla="*/ 4246562 h 4246562"/>
              <a:gd name="connsiteX4" fmla="*/ 515407 w 3531658"/>
              <a:gd name="connsiteY4" fmla="*/ 2774949 h 4246562"/>
              <a:gd name="connsiteX5" fmla="*/ 794807 w 3531658"/>
              <a:gd name="connsiteY5" fmla="*/ 2120899 h 4246562"/>
              <a:gd name="connsiteX6" fmla="*/ 502707 w 3531658"/>
              <a:gd name="connsiteY6" fmla="*/ 1473199 h 4246562"/>
              <a:gd name="connsiteX7" fmla="*/ 502707 w 3531658"/>
              <a:gd name="connsiteY7" fmla="*/ 1319212 h 4246562"/>
              <a:gd name="connsiteX8" fmla="*/ 794808 w 3531658"/>
              <a:gd name="connsiteY8" fmla="*/ 673099 h 4246562"/>
              <a:gd name="connsiteX9" fmla="*/ 502708 w 3531658"/>
              <a:gd name="connsiteY9" fmla="*/ 0 h 4246562"/>
              <a:gd name="connsiteX0" fmla="*/ 502708 w 3531658"/>
              <a:gd name="connsiteY0" fmla="*/ 0 h 4246562"/>
              <a:gd name="connsiteX1" fmla="*/ 3531658 w 3531658"/>
              <a:gd name="connsiteY1" fmla="*/ 0 h 4246562"/>
              <a:gd name="connsiteX2" fmla="*/ 3531658 w 3531658"/>
              <a:gd name="connsiteY2" fmla="*/ 4246562 h 4246562"/>
              <a:gd name="connsiteX3" fmla="*/ 502708 w 3531658"/>
              <a:gd name="connsiteY3" fmla="*/ 4246562 h 4246562"/>
              <a:gd name="connsiteX4" fmla="*/ 515407 w 3531658"/>
              <a:gd name="connsiteY4" fmla="*/ 2774949 h 4246562"/>
              <a:gd name="connsiteX5" fmla="*/ 794807 w 3531658"/>
              <a:gd name="connsiteY5" fmla="*/ 2120899 h 4246562"/>
              <a:gd name="connsiteX6" fmla="*/ 502707 w 3531658"/>
              <a:gd name="connsiteY6" fmla="*/ 1473199 h 4246562"/>
              <a:gd name="connsiteX7" fmla="*/ 502707 w 3531658"/>
              <a:gd name="connsiteY7" fmla="*/ 1319212 h 4246562"/>
              <a:gd name="connsiteX8" fmla="*/ 794808 w 3531658"/>
              <a:gd name="connsiteY8" fmla="*/ 673099 h 4246562"/>
              <a:gd name="connsiteX9" fmla="*/ 502708 w 3531658"/>
              <a:gd name="connsiteY9" fmla="*/ 0 h 4246562"/>
              <a:gd name="connsiteX0" fmla="*/ 502708 w 3531658"/>
              <a:gd name="connsiteY0" fmla="*/ 0 h 4246562"/>
              <a:gd name="connsiteX1" fmla="*/ 3531658 w 3531658"/>
              <a:gd name="connsiteY1" fmla="*/ 0 h 4246562"/>
              <a:gd name="connsiteX2" fmla="*/ 3531658 w 3531658"/>
              <a:gd name="connsiteY2" fmla="*/ 4246562 h 4246562"/>
              <a:gd name="connsiteX3" fmla="*/ 502708 w 3531658"/>
              <a:gd name="connsiteY3" fmla="*/ 4246562 h 4246562"/>
              <a:gd name="connsiteX4" fmla="*/ 515407 w 3531658"/>
              <a:gd name="connsiteY4" fmla="*/ 2774949 h 4246562"/>
              <a:gd name="connsiteX5" fmla="*/ 794807 w 3531658"/>
              <a:gd name="connsiteY5" fmla="*/ 2120899 h 4246562"/>
              <a:gd name="connsiteX6" fmla="*/ 502707 w 3531658"/>
              <a:gd name="connsiteY6" fmla="*/ 1473199 h 4246562"/>
              <a:gd name="connsiteX7" fmla="*/ 502707 w 3531658"/>
              <a:gd name="connsiteY7" fmla="*/ 1319212 h 4246562"/>
              <a:gd name="connsiteX8" fmla="*/ 794808 w 3531658"/>
              <a:gd name="connsiteY8" fmla="*/ 673099 h 4246562"/>
              <a:gd name="connsiteX9" fmla="*/ 502708 w 3531658"/>
              <a:gd name="connsiteY9" fmla="*/ 0 h 4246562"/>
              <a:gd name="connsiteX0" fmla="*/ 508000 w 3536950"/>
              <a:gd name="connsiteY0" fmla="*/ 0 h 4246562"/>
              <a:gd name="connsiteX1" fmla="*/ 3536950 w 3536950"/>
              <a:gd name="connsiteY1" fmla="*/ 0 h 4246562"/>
              <a:gd name="connsiteX2" fmla="*/ 3536950 w 3536950"/>
              <a:gd name="connsiteY2" fmla="*/ 4246562 h 4246562"/>
              <a:gd name="connsiteX3" fmla="*/ 508000 w 3536950"/>
              <a:gd name="connsiteY3" fmla="*/ 4246562 h 4246562"/>
              <a:gd name="connsiteX4" fmla="*/ 488948 w 3536950"/>
              <a:gd name="connsiteY4" fmla="*/ 2933699 h 4246562"/>
              <a:gd name="connsiteX5" fmla="*/ 520699 w 3536950"/>
              <a:gd name="connsiteY5" fmla="*/ 2774949 h 4246562"/>
              <a:gd name="connsiteX6" fmla="*/ 800099 w 3536950"/>
              <a:gd name="connsiteY6" fmla="*/ 2120899 h 4246562"/>
              <a:gd name="connsiteX7" fmla="*/ 507999 w 3536950"/>
              <a:gd name="connsiteY7" fmla="*/ 1473199 h 4246562"/>
              <a:gd name="connsiteX8" fmla="*/ 507999 w 3536950"/>
              <a:gd name="connsiteY8" fmla="*/ 1319212 h 4246562"/>
              <a:gd name="connsiteX9" fmla="*/ 800100 w 3536950"/>
              <a:gd name="connsiteY9" fmla="*/ 673099 h 4246562"/>
              <a:gd name="connsiteX10" fmla="*/ 508000 w 3536950"/>
              <a:gd name="connsiteY10" fmla="*/ 0 h 4246562"/>
              <a:gd name="connsiteX0" fmla="*/ 537634 w 3566584"/>
              <a:gd name="connsiteY0" fmla="*/ 0 h 4246562"/>
              <a:gd name="connsiteX1" fmla="*/ 3566584 w 3566584"/>
              <a:gd name="connsiteY1" fmla="*/ 0 h 4246562"/>
              <a:gd name="connsiteX2" fmla="*/ 3566584 w 3566584"/>
              <a:gd name="connsiteY2" fmla="*/ 4246562 h 4246562"/>
              <a:gd name="connsiteX3" fmla="*/ 537634 w 3566584"/>
              <a:gd name="connsiteY3" fmla="*/ 4246562 h 4246562"/>
              <a:gd name="connsiteX4" fmla="*/ 340782 w 3566584"/>
              <a:gd name="connsiteY4" fmla="*/ 3594099 h 4246562"/>
              <a:gd name="connsiteX5" fmla="*/ 518582 w 3566584"/>
              <a:gd name="connsiteY5" fmla="*/ 2933699 h 4246562"/>
              <a:gd name="connsiteX6" fmla="*/ 550333 w 3566584"/>
              <a:gd name="connsiteY6" fmla="*/ 2774949 h 4246562"/>
              <a:gd name="connsiteX7" fmla="*/ 829733 w 3566584"/>
              <a:gd name="connsiteY7" fmla="*/ 2120899 h 4246562"/>
              <a:gd name="connsiteX8" fmla="*/ 537633 w 3566584"/>
              <a:gd name="connsiteY8" fmla="*/ 1473199 h 4246562"/>
              <a:gd name="connsiteX9" fmla="*/ 537633 w 3566584"/>
              <a:gd name="connsiteY9" fmla="*/ 1319212 h 4246562"/>
              <a:gd name="connsiteX10" fmla="*/ 829734 w 3566584"/>
              <a:gd name="connsiteY10" fmla="*/ 673099 h 4246562"/>
              <a:gd name="connsiteX11" fmla="*/ 537634 w 3566584"/>
              <a:gd name="connsiteY11" fmla="*/ 0 h 4246562"/>
              <a:gd name="connsiteX0" fmla="*/ 537634 w 3566584"/>
              <a:gd name="connsiteY0" fmla="*/ 0 h 4246562"/>
              <a:gd name="connsiteX1" fmla="*/ 3566584 w 3566584"/>
              <a:gd name="connsiteY1" fmla="*/ 0 h 4246562"/>
              <a:gd name="connsiteX2" fmla="*/ 3566584 w 3566584"/>
              <a:gd name="connsiteY2" fmla="*/ 4246562 h 4246562"/>
              <a:gd name="connsiteX3" fmla="*/ 537634 w 3566584"/>
              <a:gd name="connsiteY3" fmla="*/ 4246562 h 4246562"/>
              <a:gd name="connsiteX4" fmla="*/ 829732 w 3566584"/>
              <a:gd name="connsiteY4" fmla="*/ 3594099 h 4246562"/>
              <a:gd name="connsiteX5" fmla="*/ 518582 w 3566584"/>
              <a:gd name="connsiteY5" fmla="*/ 2933699 h 4246562"/>
              <a:gd name="connsiteX6" fmla="*/ 550333 w 3566584"/>
              <a:gd name="connsiteY6" fmla="*/ 2774949 h 4246562"/>
              <a:gd name="connsiteX7" fmla="*/ 829733 w 3566584"/>
              <a:gd name="connsiteY7" fmla="*/ 2120899 h 4246562"/>
              <a:gd name="connsiteX8" fmla="*/ 537633 w 3566584"/>
              <a:gd name="connsiteY8" fmla="*/ 1473199 h 4246562"/>
              <a:gd name="connsiteX9" fmla="*/ 537633 w 3566584"/>
              <a:gd name="connsiteY9" fmla="*/ 1319212 h 4246562"/>
              <a:gd name="connsiteX10" fmla="*/ 829734 w 3566584"/>
              <a:gd name="connsiteY10" fmla="*/ 673099 h 4246562"/>
              <a:gd name="connsiteX11" fmla="*/ 537634 w 3566584"/>
              <a:gd name="connsiteY11" fmla="*/ 0 h 4246562"/>
              <a:gd name="connsiteX0" fmla="*/ 537634 w 3566584"/>
              <a:gd name="connsiteY0" fmla="*/ 0 h 4246562"/>
              <a:gd name="connsiteX1" fmla="*/ 3566584 w 3566584"/>
              <a:gd name="connsiteY1" fmla="*/ 0 h 4246562"/>
              <a:gd name="connsiteX2" fmla="*/ 3566584 w 3566584"/>
              <a:gd name="connsiteY2" fmla="*/ 4246562 h 4246562"/>
              <a:gd name="connsiteX3" fmla="*/ 537634 w 3566584"/>
              <a:gd name="connsiteY3" fmla="*/ 4246562 h 4246562"/>
              <a:gd name="connsiteX4" fmla="*/ 829732 w 3566584"/>
              <a:gd name="connsiteY4" fmla="*/ 3594099 h 4246562"/>
              <a:gd name="connsiteX5" fmla="*/ 518582 w 3566584"/>
              <a:gd name="connsiteY5" fmla="*/ 2933699 h 4246562"/>
              <a:gd name="connsiteX6" fmla="*/ 550333 w 3566584"/>
              <a:gd name="connsiteY6" fmla="*/ 2774949 h 4246562"/>
              <a:gd name="connsiteX7" fmla="*/ 829733 w 3566584"/>
              <a:gd name="connsiteY7" fmla="*/ 2120899 h 4246562"/>
              <a:gd name="connsiteX8" fmla="*/ 537633 w 3566584"/>
              <a:gd name="connsiteY8" fmla="*/ 1473199 h 4246562"/>
              <a:gd name="connsiteX9" fmla="*/ 537633 w 3566584"/>
              <a:gd name="connsiteY9" fmla="*/ 1319212 h 4246562"/>
              <a:gd name="connsiteX10" fmla="*/ 829734 w 3566584"/>
              <a:gd name="connsiteY10" fmla="*/ 673099 h 4246562"/>
              <a:gd name="connsiteX11" fmla="*/ 537634 w 3566584"/>
              <a:gd name="connsiteY11" fmla="*/ 0 h 4246562"/>
              <a:gd name="connsiteX0" fmla="*/ 537634 w 3566584"/>
              <a:gd name="connsiteY0" fmla="*/ 0 h 4246562"/>
              <a:gd name="connsiteX1" fmla="*/ 3566584 w 3566584"/>
              <a:gd name="connsiteY1" fmla="*/ 0 h 4246562"/>
              <a:gd name="connsiteX2" fmla="*/ 3566584 w 3566584"/>
              <a:gd name="connsiteY2" fmla="*/ 4246562 h 4246562"/>
              <a:gd name="connsiteX3" fmla="*/ 537634 w 3566584"/>
              <a:gd name="connsiteY3" fmla="*/ 4246562 h 4246562"/>
              <a:gd name="connsiteX4" fmla="*/ 829732 w 3566584"/>
              <a:gd name="connsiteY4" fmla="*/ 3594099 h 4246562"/>
              <a:gd name="connsiteX5" fmla="*/ 518582 w 3566584"/>
              <a:gd name="connsiteY5" fmla="*/ 2933699 h 4246562"/>
              <a:gd name="connsiteX6" fmla="*/ 550333 w 3566584"/>
              <a:gd name="connsiteY6" fmla="*/ 2774949 h 4246562"/>
              <a:gd name="connsiteX7" fmla="*/ 829733 w 3566584"/>
              <a:gd name="connsiteY7" fmla="*/ 2120899 h 4246562"/>
              <a:gd name="connsiteX8" fmla="*/ 537633 w 3566584"/>
              <a:gd name="connsiteY8" fmla="*/ 1473199 h 4246562"/>
              <a:gd name="connsiteX9" fmla="*/ 537633 w 3566584"/>
              <a:gd name="connsiteY9" fmla="*/ 1319212 h 4246562"/>
              <a:gd name="connsiteX10" fmla="*/ 829734 w 3566584"/>
              <a:gd name="connsiteY10" fmla="*/ 673099 h 4246562"/>
              <a:gd name="connsiteX11" fmla="*/ 537634 w 3566584"/>
              <a:gd name="connsiteY11" fmla="*/ 0 h 4246562"/>
              <a:gd name="connsiteX0" fmla="*/ 537634 w 3566584"/>
              <a:gd name="connsiteY0" fmla="*/ 0 h 4246562"/>
              <a:gd name="connsiteX1" fmla="*/ 3566584 w 3566584"/>
              <a:gd name="connsiteY1" fmla="*/ 0 h 4246562"/>
              <a:gd name="connsiteX2" fmla="*/ 3566584 w 3566584"/>
              <a:gd name="connsiteY2" fmla="*/ 4246562 h 4246562"/>
              <a:gd name="connsiteX3" fmla="*/ 537634 w 3566584"/>
              <a:gd name="connsiteY3" fmla="*/ 4246562 h 4246562"/>
              <a:gd name="connsiteX4" fmla="*/ 829732 w 3566584"/>
              <a:gd name="connsiteY4" fmla="*/ 3594099 h 4246562"/>
              <a:gd name="connsiteX5" fmla="*/ 518582 w 3566584"/>
              <a:gd name="connsiteY5" fmla="*/ 2933699 h 4246562"/>
              <a:gd name="connsiteX6" fmla="*/ 550333 w 3566584"/>
              <a:gd name="connsiteY6" fmla="*/ 2774949 h 4246562"/>
              <a:gd name="connsiteX7" fmla="*/ 829733 w 3566584"/>
              <a:gd name="connsiteY7" fmla="*/ 2120899 h 4246562"/>
              <a:gd name="connsiteX8" fmla="*/ 537633 w 3566584"/>
              <a:gd name="connsiteY8" fmla="*/ 1473199 h 4246562"/>
              <a:gd name="connsiteX9" fmla="*/ 537633 w 3566584"/>
              <a:gd name="connsiteY9" fmla="*/ 1319212 h 4246562"/>
              <a:gd name="connsiteX10" fmla="*/ 829734 w 3566584"/>
              <a:gd name="connsiteY10" fmla="*/ 673099 h 4246562"/>
              <a:gd name="connsiteX11" fmla="*/ 537634 w 3566584"/>
              <a:gd name="connsiteY11" fmla="*/ 0 h 4246562"/>
              <a:gd name="connsiteX0" fmla="*/ 537634 w 3566584"/>
              <a:gd name="connsiteY0" fmla="*/ 0 h 4246562"/>
              <a:gd name="connsiteX1" fmla="*/ 3566584 w 3566584"/>
              <a:gd name="connsiteY1" fmla="*/ 0 h 4246562"/>
              <a:gd name="connsiteX2" fmla="*/ 3566584 w 3566584"/>
              <a:gd name="connsiteY2" fmla="*/ 4246562 h 4246562"/>
              <a:gd name="connsiteX3" fmla="*/ 537634 w 3566584"/>
              <a:gd name="connsiteY3" fmla="*/ 4246562 h 4246562"/>
              <a:gd name="connsiteX4" fmla="*/ 829732 w 3566584"/>
              <a:gd name="connsiteY4" fmla="*/ 3594099 h 4246562"/>
              <a:gd name="connsiteX5" fmla="*/ 518582 w 3566584"/>
              <a:gd name="connsiteY5" fmla="*/ 2933699 h 4246562"/>
              <a:gd name="connsiteX6" fmla="*/ 550333 w 3566584"/>
              <a:gd name="connsiteY6" fmla="*/ 2774949 h 4246562"/>
              <a:gd name="connsiteX7" fmla="*/ 829733 w 3566584"/>
              <a:gd name="connsiteY7" fmla="*/ 2120899 h 4246562"/>
              <a:gd name="connsiteX8" fmla="*/ 537633 w 3566584"/>
              <a:gd name="connsiteY8" fmla="*/ 1473199 h 4246562"/>
              <a:gd name="connsiteX9" fmla="*/ 537633 w 3566584"/>
              <a:gd name="connsiteY9" fmla="*/ 1319212 h 4246562"/>
              <a:gd name="connsiteX10" fmla="*/ 829734 w 3566584"/>
              <a:gd name="connsiteY10" fmla="*/ 673099 h 4246562"/>
              <a:gd name="connsiteX11" fmla="*/ 537634 w 3566584"/>
              <a:gd name="connsiteY11" fmla="*/ 0 h 4246562"/>
              <a:gd name="connsiteX0" fmla="*/ 55035 w 3083985"/>
              <a:gd name="connsiteY0" fmla="*/ 0 h 4246562"/>
              <a:gd name="connsiteX1" fmla="*/ 3083985 w 3083985"/>
              <a:gd name="connsiteY1" fmla="*/ 0 h 4246562"/>
              <a:gd name="connsiteX2" fmla="*/ 3083985 w 3083985"/>
              <a:gd name="connsiteY2" fmla="*/ 4246562 h 4246562"/>
              <a:gd name="connsiteX3" fmla="*/ 55035 w 3083985"/>
              <a:gd name="connsiteY3" fmla="*/ 4246562 h 4246562"/>
              <a:gd name="connsiteX4" fmla="*/ 347133 w 3083985"/>
              <a:gd name="connsiteY4" fmla="*/ 3594099 h 4246562"/>
              <a:gd name="connsiteX5" fmla="*/ 35983 w 3083985"/>
              <a:gd name="connsiteY5" fmla="*/ 2933699 h 4246562"/>
              <a:gd name="connsiteX6" fmla="*/ 67734 w 3083985"/>
              <a:gd name="connsiteY6" fmla="*/ 2774949 h 4246562"/>
              <a:gd name="connsiteX7" fmla="*/ 347134 w 3083985"/>
              <a:gd name="connsiteY7" fmla="*/ 2120899 h 4246562"/>
              <a:gd name="connsiteX8" fmla="*/ 55034 w 3083985"/>
              <a:gd name="connsiteY8" fmla="*/ 1473199 h 4246562"/>
              <a:gd name="connsiteX9" fmla="*/ 55034 w 3083985"/>
              <a:gd name="connsiteY9" fmla="*/ 1319212 h 4246562"/>
              <a:gd name="connsiteX10" fmla="*/ 347135 w 3083985"/>
              <a:gd name="connsiteY10" fmla="*/ 673099 h 4246562"/>
              <a:gd name="connsiteX11" fmla="*/ 55035 w 3083985"/>
              <a:gd name="connsiteY11" fmla="*/ 0 h 4246562"/>
              <a:gd name="connsiteX0" fmla="*/ 48685 w 3077635"/>
              <a:gd name="connsiteY0" fmla="*/ 0 h 4246562"/>
              <a:gd name="connsiteX1" fmla="*/ 3077635 w 3077635"/>
              <a:gd name="connsiteY1" fmla="*/ 0 h 4246562"/>
              <a:gd name="connsiteX2" fmla="*/ 3077635 w 3077635"/>
              <a:gd name="connsiteY2" fmla="*/ 4246562 h 4246562"/>
              <a:gd name="connsiteX3" fmla="*/ 48685 w 3077635"/>
              <a:gd name="connsiteY3" fmla="*/ 4246562 h 4246562"/>
              <a:gd name="connsiteX4" fmla="*/ 340783 w 3077635"/>
              <a:gd name="connsiteY4" fmla="*/ 3594099 h 4246562"/>
              <a:gd name="connsiteX5" fmla="*/ 48683 w 3077635"/>
              <a:gd name="connsiteY5" fmla="*/ 2927349 h 4246562"/>
              <a:gd name="connsiteX6" fmla="*/ 61384 w 3077635"/>
              <a:gd name="connsiteY6" fmla="*/ 2774949 h 4246562"/>
              <a:gd name="connsiteX7" fmla="*/ 340784 w 3077635"/>
              <a:gd name="connsiteY7" fmla="*/ 2120899 h 4246562"/>
              <a:gd name="connsiteX8" fmla="*/ 48684 w 3077635"/>
              <a:gd name="connsiteY8" fmla="*/ 1473199 h 4246562"/>
              <a:gd name="connsiteX9" fmla="*/ 48684 w 3077635"/>
              <a:gd name="connsiteY9" fmla="*/ 1319212 h 4246562"/>
              <a:gd name="connsiteX10" fmla="*/ 340785 w 3077635"/>
              <a:gd name="connsiteY10" fmla="*/ 673099 h 4246562"/>
              <a:gd name="connsiteX11" fmla="*/ 48685 w 3077635"/>
              <a:gd name="connsiteY11" fmla="*/ 0 h 4246562"/>
              <a:gd name="connsiteX0" fmla="*/ 48685 w 3077635"/>
              <a:gd name="connsiteY0" fmla="*/ 0 h 4246562"/>
              <a:gd name="connsiteX1" fmla="*/ 3077635 w 3077635"/>
              <a:gd name="connsiteY1" fmla="*/ 0 h 4246562"/>
              <a:gd name="connsiteX2" fmla="*/ 3077635 w 3077635"/>
              <a:gd name="connsiteY2" fmla="*/ 4246562 h 4246562"/>
              <a:gd name="connsiteX3" fmla="*/ 48685 w 3077635"/>
              <a:gd name="connsiteY3" fmla="*/ 4246562 h 4246562"/>
              <a:gd name="connsiteX4" fmla="*/ 340783 w 3077635"/>
              <a:gd name="connsiteY4" fmla="*/ 3594099 h 4246562"/>
              <a:gd name="connsiteX5" fmla="*/ 48683 w 3077635"/>
              <a:gd name="connsiteY5" fmla="*/ 2927349 h 4246562"/>
              <a:gd name="connsiteX6" fmla="*/ 61384 w 3077635"/>
              <a:gd name="connsiteY6" fmla="*/ 2774949 h 4246562"/>
              <a:gd name="connsiteX7" fmla="*/ 340784 w 3077635"/>
              <a:gd name="connsiteY7" fmla="*/ 2120899 h 4246562"/>
              <a:gd name="connsiteX8" fmla="*/ 48684 w 3077635"/>
              <a:gd name="connsiteY8" fmla="*/ 1473199 h 4246562"/>
              <a:gd name="connsiteX9" fmla="*/ 48684 w 3077635"/>
              <a:gd name="connsiteY9" fmla="*/ 1319212 h 4246562"/>
              <a:gd name="connsiteX10" fmla="*/ 340785 w 3077635"/>
              <a:gd name="connsiteY10" fmla="*/ 673099 h 4246562"/>
              <a:gd name="connsiteX11" fmla="*/ 48685 w 3077635"/>
              <a:gd name="connsiteY11" fmla="*/ 0 h 4246562"/>
              <a:gd name="connsiteX0" fmla="*/ 48685 w 3077635"/>
              <a:gd name="connsiteY0" fmla="*/ 0 h 4246562"/>
              <a:gd name="connsiteX1" fmla="*/ 3077635 w 3077635"/>
              <a:gd name="connsiteY1" fmla="*/ 0 h 4246562"/>
              <a:gd name="connsiteX2" fmla="*/ 3077635 w 3077635"/>
              <a:gd name="connsiteY2" fmla="*/ 4246562 h 4246562"/>
              <a:gd name="connsiteX3" fmla="*/ 48685 w 3077635"/>
              <a:gd name="connsiteY3" fmla="*/ 4246562 h 4246562"/>
              <a:gd name="connsiteX4" fmla="*/ 340783 w 3077635"/>
              <a:gd name="connsiteY4" fmla="*/ 3594099 h 4246562"/>
              <a:gd name="connsiteX5" fmla="*/ 48683 w 3077635"/>
              <a:gd name="connsiteY5" fmla="*/ 2927349 h 4246562"/>
              <a:gd name="connsiteX6" fmla="*/ 61384 w 3077635"/>
              <a:gd name="connsiteY6" fmla="*/ 2774949 h 4246562"/>
              <a:gd name="connsiteX7" fmla="*/ 340784 w 3077635"/>
              <a:gd name="connsiteY7" fmla="*/ 2120899 h 4246562"/>
              <a:gd name="connsiteX8" fmla="*/ 48684 w 3077635"/>
              <a:gd name="connsiteY8" fmla="*/ 1473199 h 4246562"/>
              <a:gd name="connsiteX9" fmla="*/ 48684 w 3077635"/>
              <a:gd name="connsiteY9" fmla="*/ 1319212 h 4246562"/>
              <a:gd name="connsiteX10" fmla="*/ 340785 w 3077635"/>
              <a:gd name="connsiteY10" fmla="*/ 673099 h 4246562"/>
              <a:gd name="connsiteX11" fmla="*/ 48685 w 3077635"/>
              <a:gd name="connsiteY11" fmla="*/ 0 h 4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7635" h="4246562">
                <a:moveTo>
                  <a:pt x="48685" y="0"/>
                </a:moveTo>
                <a:lnTo>
                  <a:pt x="3077635" y="0"/>
                </a:lnTo>
                <a:lnTo>
                  <a:pt x="3077635" y="4246562"/>
                </a:lnTo>
                <a:lnTo>
                  <a:pt x="48685" y="4246562"/>
                </a:lnTo>
                <a:cubicBezTo>
                  <a:pt x="162983" y="3998118"/>
                  <a:pt x="204258" y="3908159"/>
                  <a:pt x="340783" y="3594099"/>
                </a:cubicBezTo>
                <a:cubicBezTo>
                  <a:pt x="223308" y="3362589"/>
                  <a:pt x="131233" y="3082924"/>
                  <a:pt x="48683" y="2927349"/>
                </a:cubicBezTo>
                <a:cubicBezTo>
                  <a:pt x="12700" y="2872580"/>
                  <a:pt x="20109" y="2896127"/>
                  <a:pt x="61384" y="2774949"/>
                </a:cubicBezTo>
                <a:cubicBezTo>
                  <a:pt x="200554" y="2465122"/>
                  <a:pt x="220663" y="2433107"/>
                  <a:pt x="340784" y="2120899"/>
                </a:cubicBezTo>
                <a:cubicBezTo>
                  <a:pt x="156634" y="1722172"/>
                  <a:pt x="97367" y="1606814"/>
                  <a:pt x="48684" y="1473199"/>
                </a:cubicBezTo>
                <a:cubicBezTo>
                  <a:pt x="1" y="1339585"/>
                  <a:pt x="0" y="1452562"/>
                  <a:pt x="48684" y="1319212"/>
                </a:cubicBezTo>
                <a:lnTo>
                  <a:pt x="340785" y="673099"/>
                </a:lnTo>
                <a:lnTo>
                  <a:pt x="48685" y="0"/>
                </a:lnTo>
                <a:close/>
              </a:path>
            </a:pathLst>
          </a:custGeom>
          <a:solidFill>
            <a:srgbClr val="A4C2C0"/>
          </a:solidFill>
          <a:ln w="12700" cmpd="sng" algn="ctr">
            <a:solidFill>
              <a:srgbClr val="B4CCCC"/>
            </a:solidFill>
            <a:miter lim="800000"/>
            <a:headEnd/>
            <a:tailEnd/>
          </a:ln>
          <a:effectLst/>
        </p:spPr>
        <p:txBody>
          <a:bodyPr wrap="square" lIns="592920" tIns="158112" rIns="118584" bIns="79056"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a:lnSpc>
                <a:spcPct val="95000"/>
              </a:lnSpc>
              <a:spcBef>
                <a:spcPts val="600"/>
              </a:spcBef>
              <a:spcAft>
                <a:spcPts val="600"/>
              </a:spcAft>
              <a:buClr>
                <a:schemeClr val="accent4"/>
              </a:buClr>
              <a:defRPr/>
            </a:pPr>
            <a:r>
              <a:rPr lang="en-ZA" sz="1600" b="1" noProof="1" smtClean="0">
                <a:solidFill>
                  <a:schemeClr val="accent1"/>
                </a:solidFill>
                <a:latin typeface="Verdana"/>
                <a:cs typeface="Arial" charset="0"/>
              </a:rPr>
              <a:t>Portfolio de Servicios</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Executive Search</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Efectividad de Consejos</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Planes de Sucesión de Ejecutivos</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Efectividad de los equipos</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Evaluación de Liderazgo</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Desarrollo de Liderazgo </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Estrategias de Talento</a:t>
            </a:r>
          </a:p>
          <a:p>
            <a:pPr marL="342900" indent="-342900">
              <a:lnSpc>
                <a:spcPct val="95000"/>
              </a:lnSpc>
              <a:spcBef>
                <a:spcPts val="600"/>
              </a:spcBef>
              <a:spcAft>
                <a:spcPts val="600"/>
              </a:spcAft>
              <a:buClr>
                <a:schemeClr val="accent4"/>
              </a:buClr>
              <a:buFont typeface="Garamond"/>
              <a:buChar char="►"/>
              <a:defRPr/>
            </a:pPr>
            <a:r>
              <a:rPr lang="es-ES_tradnl" sz="1400" noProof="1" smtClean="0">
                <a:solidFill>
                  <a:srgbClr val="000000"/>
                </a:solidFill>
                <a:latin typeface="Verdana"/>
                <a:cs typeface="Arial" charset="0"/>
              </a:rPr>
              <a:t>Evaluación cultural y Modelación</a:t>
            </a:r>
            <a:br>
              <a:rPr lang="es-ES_tradnl" sz="1400" noProof="1" smtClean="0">
                <a:solidFill>
                  <a:srgbClr val="000000"/>
                </a:solidFill>
                <a:latin typeface="Verdana"/>
                <a:cs typeface="Arial" charset="0"/>
              </a:rPr>
            </a:br>
            <a:r>
              <a:rPr lang="es-ES_tradnl" sz="1400" noProof="1" smtClean="0">
                <a:solidFill>
                  <a:srgbClr val="000000"/>
                </a:solidFill>
                <a:latin typeface="Verdana"/>
                <a:cs typeface="Arial" charset="0"/>
              </a:rPr>
              <a:t>de Cultura Organizacional</a:t>
            </a:r>
            <a:endParaRPr lang="es-ES_tradnl" sz="1400" noProof="1">
              <a:solidFill>
                <a:srgbClr val="000000"/>
              </a:solidFill>
              <a:latin typeface="Verdana"/>
              <a:cs typeface="Arial" charset="0"/>
            </a:endParaRPr>
          </a:p>
        </p:txBody>
      </p:sp>
      <p:sp>
        <p:nvSpPr>
          <p:cNvPr id="26" name="_color1"/>
          <p:cNvSpPr>
            <a:spLocks noChangeArrowheads="1"/>
          </p:cNvSpPr>
          <p:nvPr/>
        </p:nvSpPr>
        <p:spPr bwMode="gray">
          <a:xfrm>
            <a:off x="907984" y="3074689"/>
            <a:ext cx="4713583" cy="1692279"/>
          </a:xfrm>
          <a:prstGeom prst="homePlate">
            <a:avLst>
              <a:gd name="adj" fmla="val 24308"/>
            </a:avLst>
          </a:prstGeom>
          <a:solidFill>
            <a:srgbClr val="C2918C"/>
          </a:solidFill>
          <a:ln w="12700" cmpd="sng">
            <a:solidFill>
              <a:srgbClr val="862419"/>
            </a:solidFill>
            <a:miter lim="800000"/>
            <a:headEnd/>
            <a:tailEnd/>
          </a:ln>
          <a:effectLst/>
        </p:spPr>
        <p:txBody>
          <a:bodyPr wrap="square"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r>
              <a:rPr lang="en-GB" sz="1600" b="1" noProof="1" smtClean="0">
                <a:solidFill>
                  <a:srgbClr val="FFFFFF"/>
                </a:solidFill>
                <a:cs typeface="Arial" charset="0"/>
              </a:rPr>
              <a:t>Leadership Consulting</a:t>
            </a:r>
          </a:p>
          <a:p>
            <a:pPr defTabSz="879475">
              <a:lnSpc>
                <a:spcPct val="95000"/>
              </a:lnSpc>
              <a:spcAft>
                <a:spcPts val="875"/>
              </a:spcAft>
            </a:pPr>
            <a:r>
              <a:rPr lang="en-US" sz="1400" noProof="1" smtClean="0">
                <a:solidFill>
                  <a:srgbClr val="FFFFFF"/>
                </a:solidFill>
                <a:cs typeface="Arial" charset="0"/>
              </a:rPr>
              <a:t>Evaluar y comparar las capacidades, encaje, y futuro potencial de los </a:t>
            </a:r>
            <a:r>
              <a:rPr lang="en-US" sz="1400" noProof="1">
                <a:solidFill>
                  <a:srgbClr val="FFFFFF"/>
                </a:solidFill>
                <a:cs typeface="Arial" charset="0"/>
              </a:rPr>
              <a:t>senior </a:t>
            </a:r>
            <a:r>
              <a:rPr lang="en-US" sz="1400" noProof="1" smtClean="0">
                <a:solidFill>
                  <a:srgbClr val="FFFFFF"/>
                </a:solidFill>
                <a:cs typeface="Arial" charset="0"/>
              </a:rPr>
              <a:t>líderes y crear planes de desarrollos personalizados</a:t>
            </a:r>
            <a:endParaRPr lang="en-GB" sz="1400" noProof="1">
              <a:solidFill>
                <a:srgbClr val="FFFFFF"/>
              </a:solidFill>
              <a:cs typeface="Arial" charset="0"/>
            </a:endParaRPr>
          </a:p>
        </p:txBody>
      </p:sp>
      <p:sp>
        <p:nvSpPr>
          <p:cNvPr id="27" name="_color1"/>
          <p:cNvSpPr>
            <a:spLocks noChangeArrowheads="1"/>
          </p:cNvSpPr>
          <p:nvPr/>
        </p:nvSpPr>
        <p:spPr bwMode="gray">
          <a:xfrm>
            <a:off x="907984" y="4919368"/>
            <a:ext cx="4713583" cy="1753407"/>
          </a:xfrm>
          <a:prstGeom prst="homePlate">
            <a:avLst>
              <a:gd name="adj" fmla="val 24308"/>
            </a:avLst>
          </a:prstGeom>
          <a:solidFill>
            <a:srgbClr val="ABBEAA"/>
          </a:solidFill>
          <a:ln w="12700" cmpd="sng">
            <a:solidFill>
              <a:srgbClr val="739372"/>
            </a:solidFill>
            <a:miter lim="800000"/>
            <a:headEnd/>
            <a:tailEnd/>
          </a:ln>
          <a:effectLst/>
        </p:spPr>
        <p:txBody>
          <a:bodyPr wrap="square"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r>
              <a:rPr lang="en-GB" sz="1600" b="1" noProof="1" smtClean="0">
                <a:solidFill>
                  <a:srgbClr val="FFFFFF"/>
                </a:solidFill>
                <a:cs typeface="Arial" charset="0"/>
              </a:rPr>
              <a:t>Culture Shaping</a:t>
            </a:r>
          </a:p>
          <a:p>
            <a:pPr defTabSz="879475">
              <a:lnSpc>
                <a:spcPct val="95000"/>
              </a:lnSpc>
              <a:spcAft>
                <a:spcPts val="875"/>
              </a:spcAft>
            </a:pPr>
            <a:r>
              <a:rPr lang="en-US" sz="1400" noProof="1" smtClean="0">
                <a:solidFill>
                  <a:srgbClr val="FFFFFF"/>
                </a:solidFill>
                <a:cs typeface="Arial" charset="0"/>
              </a:rPr>
              <a:t>Crear, ejecutar, y apoyar programas de  alineamiento </a:t>
            </a:r>
            <a:r>
              <a:rPr lang="en-US" sz="1400" noProof="1">
                <a:solidFill>
                  <a:srgbClr val="FFFFFF"/>
                </a:solidFill>
                <a:cs typeface="Arial" charset="0"/>
              </a:rPr>
              <a:t>cultural </a:t>
            </a:r>
            <a:r>
              <a:rPr lang="en-US" sz="1400" noProof="1" smtClean="0">
                <a:solidFill>
                  <a:srgbClr val="FFFFFF"/>
                </a:solidFill>
                <a:cs typeface="Arial" charset="0"/>
              </a:rPr>
              <a:t>que sean escalables a todos los niveles de la organización.</a:t>
            </a:r>
            <a:endParaRPr lang="en-US" sz="1400" noProof="1">
              <a:solidFill>
                <a:srgbClr val="FFFFFF"/>
              </a:solidFill>
              <a:cs typeface="Arial" charset="0"/>
            </a:endParaRPr>
          </a:p>
        </p:txBody>
      </p:sp>
    </p:spTree>
    <p:extLst>
      <p:ext uri="{BB962C8B-B14F-4D97-AF65-F5344CB8AC3E}">
        <p14:creationId xmlns:p14="http://schemas.microsoft.com/office/powerpoint/2010/main" val="39294410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 Diagonal Corner Rectangle 22"/>
          <p:cNvSpPr/>
          <p:nvPr/>
        </p:nvSpPr>
        <p:spPr>
          <a:xfrm>
            <a:off x="352231" y="1176313"/>
            <a:ext cx="9359900" cy="1565265"/>
          </a:xfrm>
          <a:prstGeom prst="round2DiagRect">
            <a:avLst/>
          </a:prstGeom>
          <a:solidFill>
            <a:srgbClr val="DFDFD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smtClean="0"/>
          </a:p>
        </p:txBody>
      </p:sp>
      <p:sp>
        <p:nvSpPr>
          <p:cNvPr id="2" name="Title 1"/>
          <p:cNvSpPr>
            <a:spLocks noGrp="1"/>
          </p:cNvSpPr>
          <p:nvPr>
            <p:ph type="title"/>
          </p:nvPr>
        </p:nvSpPr>
        <p:spPr/>
        <p:txBody>
          <a:bodyPr/>
          <a:lstStyle/>
          <a:p>
            <a:r>
              <a:rPr lang="es-ES_tradnl" dirty="0" smtClean="0"/>
              <a:t>El Esquema Infinity </a:t>
            </a:r>
            <a:br>
              <a:rPr lang="es-ES_tradnl" dirty="0" smtClean="0"/>
            </a:br>
            <a:r>
              <a:rPr lang="es-ES_tradnl" sz="1600" dirty="0" smtClean="0"/>
              <a:t>Evaluando holísticamente las cuatro dimensiones claves del líder </a:t>
            </a:r>
            <a:endParaRPr lang="es-ES_tradnl" sz="1600" dirty="0"/>
          </a:p>
        </p:txBody>
      </p:sp>
      <p:grpSp>
        <p:nvGrpSpPr>
          <p:cNvPr id="26" name="Group 25"/>
          <p:cNvGrpSpPr/>
          <p:nvPr/>
        </p:nvGrpSpPr>
        <p:grpSpPr>
          <a:xfrm>
            <a:off x="3666026" y="3524323"/>
            <a:ext cx="2437035" cy="2438302"/>
            <a:chOff x="3495676" y="2366963"/>
            <a:chExt cx="3054350" cy="3055938"/>
          </a:xfrm>
        </p:grpSpPr>
        <p:pic>
          <p:nvPicPr>
            <p:cNvPr id="59" name="Picture 58"/>
            <p:cNvPicPr>
              <a:picLocks noChangeAspect="1"/>
            </p:cNvPicPr>
            <p:nvPr/>
          </p:nvPicPr>
          <p:blipFill>
            <a:blip r:embed="rId3"/>
            <a:stretch>
              <a:fillRect/>
            </a:stretch>
          </p:blipFill>
          <p:spPr>
            <a:xfrm>
              <a:off x="4271666" y="3065993"/>
              <a:ext cx="1645244" cy="1658408"/>
            </a:xfrm>
            <a:prstGeom prst="rect">
              <a:avLst/>
            </a:prstGeom>
          </p:spPr>
        </p:pic>
        <p:grpSp>
          <p:nvGrpSpPr>
            <p:cNvPr id="13" name="Group 4"/>
            <p:cNvGrpSpPr>
              <a:grpSpLocks noChangeAspect="1"/>
            </p:cNvGrpSpPr>
            <p:nvPr/>
          </p:nvGrpSpPr>
          <p:grpSpPr bwMode="auto">
            <a:xfrm>
              <a:off x="3495676" y="2366963"/>
              <a:ext cx="3054350" cy="3055938"/>
              <a:chOff x="2202" y="1491"/>
              <a:chExt cx="1924" cy="1925"/>
            </a:xfrm>
          </p:grpSpPr>
          <p:sp>
            <p:nvSpPr>
              <p:cNvPr id="18" name="Freeform 5"/>
              <p:cNvSpPr>
                <a:spLocks/>
              </p:cNvSpPr>
              <p:nvPr/>
            </p:nvSpPr>
            <p:spPr bwMode="auto">
              <a:xfrm>
                <a:off x="3164" y="1491"/>
                <a:ext cx="962" cy="963"/>
              </a:xfrm>
              <a:custGeom>
                <a:avLst/>
                <a:gdLst>
                  <a:gd name="T0" fmla="*/ 659 w 659"/>
                  <a:gd name="T1" fmla="*/ 659 h 659"/>
                  <a:gd name="T2" fmla="*/ 0 w 659"/>
                  <a:gd name="T3" fmla="*/ 0 h 659"/>
                  <a:gd name="T4" fmla="*/ 0 w 659"/>
                  <a:gd name="T5" fmla="*/ 0 h 659"/>
                  <a:gd name="T6" fmla="*/ 0 w 659"/>
                  <a:gd name="T7" fmla="*/ 165 h 659"/>
                  <a:gd name="T8" fmla="*/ 494 w 659"/>
                  <a:gd name="T9" fmla="*/ 659 h 659"/>
                  <a:gd name="T10" fmla="*/ 494 w 659"/>
                  <a:gd name="T11" fmla="*/ 659 h 659"/>
                  <a:gd name="T12" fmla="*/ 659 w 659"/>
                  <a:gd name="T13" fmla="*/ 659 h 659"/>
                </a:gdLst>
                <a:ahLst/>
                <a:cxnLst>
                  <a:cxn ang="0">
                    <a:pos x="T0" y="T1"/>
                  </a:cxn>
                  <a:cxn ang="0">
                    <a:pos x="T2" y="T3"/>
                  </a:cxn>
                  <a:cxn ang="0">
                    <a:pos x="T4" y="T5"/>
                  </a:cxn>
                  <a:cxn ang="0">
                    <a:pos x="T6" y="T7"/>
                  </a:cxn>
                  <a:cxn ang="0">
                    <a:pos x="T8" y="T9"/>
                  </a:cxn>
                  <a:cxn ang="0">
                    <a:pos x="T10" y="T11"/>
                  </a:cxn>
                  <a:cxn ang="0">
                    <a:pos x="T12" y="T13"/>
                  </a:cxn>
                </a:cxnLst>
                <a:rect l="0" t="0" r="r" b="b"/>
                <a:pathLst>
                  <a:path w="659" h="659">
                    <a:moveTo>
                      <a:pt x="659" y="659"/>
                    </a:moveTo>
                    <a:cubicBezTo>
                      <a:pt x="659" y="295"/>
                      <a:pt x="364" y="0"/>
                      <a:pt x="0" y="0"/>
                    </a:cubicBezTo>
                    <a:cubicBezTo>
                      <a:pt x="0" y="0"/>
                      <a:pt x="0" y="0"/>
                      <a:pt x="0" y="0"/>
                    </a:cubicBezTo>
                    <a:cubicBezTo>
                      <a:pt x="0" y="165"/>
                      <a:pt x="0" y="165"/>
                      <a:pt x="0" y="165"/>
                    </a:cubicBezTo>
                    <a:cubicBezTo>
                      <a:pt x="273" y="165"/>
                      <a:pt x="494" y="386"/>
                      <a:pt x="494" y="659"/>
                    </a:cubicBezTo>
                    <a:cubicBezTo>
                      <a:pt x="494" y="659"/>
                      <a:pt x="494" y="659"/>
                      <a:pt x="494" y="659"/>
                    </a:cubicBezTo>
                    <a:lnTo>
                      <a:pt x="659" y="659"/>
                    </a:lnTo>
                    <a:close/>
                  </a:path>
                </a:pathLst>
              </a:custGeom>
              <a:solidFill>
                <a:srgbClr val="F1E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p:cNvSpPr>
              <p:nvPr/>
            </p:nvSpPr>
            <p:spPr bwMode="auto">
              <a:xfrm>
                <a:off x="3164" y="2454"/>
                <a:ext cx="962" cy="962"/>
              </a:xfrm>
              <a:custGeom>
                <a:avLst/>
                <a:gdLst>
                  <a:gd name="T0" fmla="*/ 0 w 659"/>
                  <a:gd name="T1" fmla="*/ 659 h 659"/>
                  <a:gd name="T2" fmla="*/ 659 w 659"/>
                  <a:gd name="T3" fmla="*/ 0 h 659"/>
                  <a:gd name="T4" fmla="*/ 494 w 659"/>
                  <a:gd name="T5" fmla="*/ 0 h 659"/>
                  <a:gd name="T6" fmla="*/ 0 w 659"/>
                  <a:gd name="T7" fmla="*/ 495 h 659"/>
                  <a:gd name="T8" fmla="*/ 0 w 659"/>
                  <a:gd name="T9" fmla="*/ 659 h 659"/>
                </a:gdLst>
                <a:ahLst/>
                <a:cxnLst>
                  <a:cxn ang="0">
                    <a:pos x="T0" y="T1"/>
                  </a:cxn>
                  <a:cxn ang="0">
                    <a:pos x="T2" y="T3"/>
                  </a:cxn>
                  <a:cxn ang="0">
                    <a:pos x="T4" y="T5"/>
                  </a:cxn>
                  <a:cxn ang="0">
                    <a:pos x="T6" y="T7"/>
                  </a:cxn>
                  <a:cxn ang="0">
                    <a:pos x="T8" y="T9"/>
                  </a:cxn>
                </a:cxnLst>
                <a:rect l="0" t="0" r="r" b="b"/>
                <a:pathLst>
                  <a:path w="659" h="659">
                    <a:moveTo>
                      <a:pt x="0" y="659"/>
                    </a:moveTo>
                    <a:cubicBezTo>
                      <a:pt x="364" y="659"/>
                      <a:pt x="659" y="364"/>
                      <a:pt x="659" y="0"/>
                    </a:cubicBezTo>
                    <a:cubicBezTo>
                      <a:pt x="494" y="0"/>
                      <a:pt x="494" y="0"/>
                      <a:pt x="494" y="0"/>
                    </a:cubicBezTo>
                    <a:cubicBezTo>
                      <a:pt x="494" y="273"/>
                      <a:pt x="273" y="495"/>
                      <a:pt x="0" y="495"/>
                    </a:cubicBezTo>
                    <a:lnTo>
                      <a:pt x="0" y="659"/>
                    </a:lnTo>
                    <a:close/>
                  </a:path>
                </a:pathLst>
              </a:custGeom>
              <a:solidFill>
                <a:srgbClr val="7A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7"/>
              <p:cNvSpPr>
                <a:spLocks/>
              </p:cNvSpPr>
              <p:nvPr/>
            </p:nvSpPr>
            <p:spPr bwMode="auto">
              <a:xfrm>
                <a:off x="2202" y="2454"/>
                <a:ext cx="962" cy="962"/>
              </a:xfrm>
              <a:custGeom>
                <a:avLst/>
                <a:gdLst>
                  <a:gd name="T0" fmla="*/ 0 w 659"/>
                  <a:gd name="T1" fmla="*/ 0 h 659"/>
                  <a:gd name="T2" fmla="*/ 659 w 659"/>
                  <a:gd name="T3" fmla="*/ 659 h 659"/>
                  <a:gd name="T4" fmla="*/ 659 w 659"/>
                  <a:gd name="T5" fmla="*/ 659 h 659"/>
                  <a:gd name="T6" fmla="*/ 659 w 659"/>
                  <a:gd name="T7" fmla="*/ 495 h 659"/>
                  <a:gd name="T8" fmla="*/ 165 w 659"/>
                  <a:gd name="T9" fmla="*/ 0 h 659"/>
                  <a:gd name="T10" fmla="*/ 165 w 659"/>
                  <a:gd name="T11" fmla="*/ 0 h 659"/>
                  <a:gd name="T12" fmla="*/ 0 w 659"/>
                  <a:gd name="T13" fmla="*/ 0 h 659"/>
                </a:gdLst>
                <a:ahLst/>
                <a:cxnLst>
                  <a:cxn ang="0">
                    <a:pos x="T0" y="T1"/>
                  </a:cxn>
                  <a:cxn ang="0">
                    <a:pos x="T2" y="T3"/>
                  </a:cxn>
                  <a:cxn ang="0">
                    <a:pos x="T4" y="T5"/>
                  </a:cxn>
                  <a:cxn ang="0">
                    <a:pos x="T6" y="T7"/>
                  </a:cxn>
                  <a:cxn ang="0">
                    <a:pos x="T8" y="T9"/>
                  </a:cxn>
                  <a:cxn ang="0">
                    <a:pos x="T10" y="T11"/>
                  </a:cxn>
                  <a:cxn ang="0">
                    <a:pos x="T12" y="T13"/>
                  </a:cxn>
                </a:cxnLst>
                <a:rect l="0" t="0" r="r" b="b"/>
                <a:pathLst>
                  <a:path w="659" h="659">
                    <a:moveTo>
                      <a:pt x="0" y="0"/>
                    </a:moveTo>
                    <a:cubicBezTo>
                      <a:pt x="0" y="364"/>
                      <a:pt x="295" y="659"/>
                      <a:pt x="659" y="659"/>
                    </a:cubicBezTo>
                    <a:cubicBezTo>
                      <a:pt x="659" y="659"/>
                      <a:pt x="659" y="659"/>
                      <a:pt x="659" y="659"/>
                    </a:cubicBezTo>
                    <a:cubicBezTo>
                      <a:pt x="659" y="495"/>
                      <a:pt x="659" y="495"/>
                      <a:pt x="659" y="495"/>
                    </a:cubicBezTo>
                    <a:cubicBezTo>
                      <a:pt x="386" y="495"/>
                      <a:pt x="165" y="273"/>
                      <a:pt x="165" y="0"/>
                    </a:cubicBezTo>
                    <a:cubicBezTo>
                      <a:pt x="165" y="0"/>
                      <a:pt x="165" y="0"/>
                      <a:pt x="165" y="0"/>
                    </a:cubicBezTo>
                    <a:lnTo>
                      <a:pt x="0" y="0"/>
                    </a:lnTo>
                    <a:close/>
                  </a:path>
                </a:pathLst>
              </a:custGeom>
              <a:solidFill>
                <a:srgbClr val="6CB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p:nvSpPr>
            <p:spPr bwMode="auto">
              <a:xfrm>
                <a:off x="2202" y="1491"/>
                <a:ext cx="962" cy="963"/>
              </a:xfrm>
              <a:custGeom>
                <a:avLst/>
                <a:gdLst>
                  <a:gd name="T0" fmla="*/ 659 w 659"/>
                  <a:gd name="T1" fmla="*/ 0 h 659"/>
                  <a:gd name="T2" fmla="*/ 0 w 659"/>
                  <a:gd name="T3" fmla="*/ 659 h 659"/>
                  <a:gd name="T4" fmla="*/ 165 w 659"/>
                  <a:gd name="T5" fmla="*/ 659 h 659"/>
                  <a:gd name="T6" fmla="*/ 659 w 659"/>
                  <a:gd name="T7" fmla="*/ 165 h 659"/>
                  <a:gd name="T8" fmla="*/ 659 w 659"/>
                  <a:gd name="T9" fmla="*/ 0 h 659"/>
                </a:gdLst>
                <a:ahLst/>
                <a:cxnLst>
                  <a:cxn ang="0">
                    <a:pos x="T0" y="T1"/>
                  </a:cxn>
                  <a:cxn ang="0">
                    <a:pos x="T2" y="T3"/>
                  </a:cxn>
                  <a:cxn ang="0">
                    <a:pos x="T4" y="T5"/>
                  </a:cxn>
                  <a:cxn ang="0">
                    <a:pos x="T6" y="T7"/>
                  </a:cxn>
                  <a:cxn ang="0">
                    <a:pos x="T8" y="T9"/>
                  </a:cxn>
                </a:cxnLst>
                <a:rect l="0" t="0" r="r" b="b"/>
                <a:pathLst>
                  <a:path w="659" h="659">
                    <a:moveTo>
                      <a:pt x="659" y="0"/>
                    </a:moveTo>
                    <a:cubicBezTo>
                      <a:pt x="295" y="0"/>
                      <a:pt x="0" y="295"/>
                      <a:pt x="0" y="659"/>
                    </a:cubicBezTo>
                    <a:cubicBezTo>
                      <a:pt x="165" y="659"/>
                      <a:pt x="165" y="659"/>
                      <a:pt x="165" y="659"/>
                    </a:cubicBezTo>
                    <a:cubicBezTo>
                      <a:pt x="165" y="386"/>
                      <a:pt x="386" y="165"/>
                      <a:pt x="659" y="165"/>
                    </a:cubicBezTo>
                    <a:lnTo>
                      <a:pt x="659" y="0"/>
                    </a:lnTo>
                    <a:close/>
                  </a:path>
                </a:pathLst>
              </a:custGeom>
              <a:solidFill>
                <a:srgbClr val="679B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2" name="TextBox 61"/>
          <p:cNvSpPr txBox="1">
            <a:spLocks noChangeAspect="1"/>
          </p:cNvSpPr>
          <p:nvPr/>
        </p:nvSpPr>
        <p:spPr>
          <a:xfrm>
            <a:off x="361561" y="3069485"/>
            <a:ext cx="2990729" cy="1630557"/>
          </a:xfrm>
          <a:prstGeom prst="rect">
            <a:avLst/>
          </a:prstGeom>
          <a:noFill/>
          <a:ln w="50800">
            <a:noFill/>
          </a:ln>
        </p:spPr>
        <p:txBody>
          <a:bodyPr wrap="square" lIns="0" tIns="0" rIns="0" bIns="0" rtlCol="0">
            <a:noAutofit/>
          </a:bodyPr>
          <a:lstStyle/>
          <a:p>
            <a:pPr algn="r">
              <a:lnSpc>
                <a:spcPct val="90000"/>
              </a:lnSpc>
            </a:pPr>
            <a:r>
              <a:rPr lang="es-ES_tradnl" sz="1400" b="1" dirty="0" smtClean="0">
                <a:solidFill>
                  <a:srgbClr val="679B9A"/>
                </a:solidFill>
                <a:latin typeface="+mj-lt"/>
              </a:rPr>
              <a:t>Experiencia Esencial </a:t>
            </a:r>
            <a:endParaRPr lang="es-ES_tradnl" sz="1400" dirty="0" smtClean="0">
              <a:solidFill>
                <a:srgbClr val="679B9A"/>
              </a:solidFill>
              <a:latin typeface="+mj-lt"/>
            </a:endParaRPr>
          </a:p>
          <a:p>
            <a:pPr algn="r">
              <a:lnSpc>
                <a:spcPct val="90000"/>
              </a:lnSpc>
            </a:pPr>
            <a:r>
              <a:rPr lang="es-ES_tradnl" sz="1400" b="1" dirty="0" smtClean="0">
                <a:solidFill>
                  <a:srgbClr val="679B9A"/>
                </a:solidFill>
                <a:latin typeface="+mj-lt"/>
              </a:rPr>
              <a:t>&amp; Conocimientos</a:t>
            </a:r>
          </a:p>
          <a:p>
            <a:pPr algn="r">
              <a:spcBef>
                <a:spcPts val="200"/>
              </a:spcBef>
            </a:pPr>
            <a:r>
              <a:rPr lang="es-ES_tradnl" sz="1200" dirty="0" smtClean="0">
                <a:latin typeface="+mj-lt"/>
              </a:rPr>
              <a:t>El </a:t>
            </a:r>
            <a:r>
              <a:rPr lang="es-ES_tradnl" sz="1200" b="1" dirty="0" smtClean="0">
                <a:latin typeface="+mj-lt"/>
              </a:rPr>
              <a:t>Pasado</a:t>
            </a:r>
            <a:r>
              <a:rPr lang="es-ES_tradnl" sz="1200" dirty="0" smtClean="0">
                <a:latin typeface="+mj-lt"/>
              </a:rPr>
              <a:t> del Líder</a:t>
            </a:r>
          </a:p>
          <a:p>
            <a:pPr algn="r">
              <a:lnSpc>
                <a:spcPct val="105000"/>
              </a:lnSpc>
              <a:spcBef>
                <a:spcPts val="1200"/>
              </a:spcBef>
            </a:pPr>
            <a:r>
              <a:rPr lang="es-ES_tradnl" sz="1200" dirty="0" smtClean="0"/>
              <a:t>Conocimiento técnico, capacidades y habilidades que debe de poseer un candidato </a:t>
            </a:r>
          </a:p>
          <a:p>
            <a:pPr algn="r">
              <a:lnSpc>
                <a:spcPct val="105000"/>
              </a:lnSpc>
              <a:spcBef>
                <a:spcPts val="600"/>
              </a:spcBef>
            </a:pPr>
            <a:r>
              <a:rPr lang="es-ES_tradnl" sz="1000" dirty="0" smtClean="0">
                <a:solidFill>
                  <a:schemeClr val="bg1">
                    <a:lumMod val="50000"/>
                  </a:schemeClr>
                </a:solidFill>
              </a:rPr>
              <a:t>Sector, escala, movilidad, educación </a:t>
            </a:r>
            <a:endParaRPr lang="es-ES_tradnl" sz="1000" dirty="0">
              <a:solidFill>
                <a:schemeClr val="bg1">
                  <a:lumMod val="50000"/>
                </a:schemeClr>
              </a:solidFill>
            </a:endParaRPr>
          </a:p>
        </p:txBody>
      </p:sp>
      <p:sp>
        <p:nvSpPr>
          <p:cNvPr id="64" name="TextBox 63"/>
          <p:cNvSpPr txBox="1">
            <a:spLocks noChangeAspect="1"/>
          </p:cNvSpPr>
          <p:nvPr/>
        </p:nvSpPr>
        <p:spPr>
          <a:xfrm>
            <a:off x="6568751" y="3069485"/>
            <a:ext cx="3143380" cy="1953603"/>
          </a:xfrm>
          <a:prstGeom prst="rect">
            <a:avLst/>
          </a:prstGeom>
          <a:noFill/>
          <a:ln w="50800">
            <a:noFill/>
          </a:ln>
        </p:spPr>
        <p:txBody>
          <a:bodyPr wrap="square" lIns="0" tIns="0" rIns="0" bIns="0" rtlCol="0">
            <a:noAutofit/>
          </a:bodyPr>
          <a:lstStyle/>
          <a:p>
            <a:pPr>
              <a:lnSpc>
                <a:spcPct val="90000"/>
              </a:lnSpc>
              <a:spcBef>
                <a:spcPts val="300"/>
              </a:spcBef>
            </a:pPr>
            <a:r>
              <a:rPr lang="es-ES_tradnl" sz="1400" b="1" dirty="0" smtClean="0">
                <a:solidFill>
                  <a:srgbClr val="D9D411"/>
                </a:solidFill>
                <a:latin typeface="+mj-lt"/>
              </a:rPr>
              <a:t>Capacidades de Liderazgo</a:t>
            </a:r>
          </a:p>
          <a:p>
            <a:pPr>
              <a:lnSpc>
                <a:spcPct val="105000"/>
              </a:lnSpc>
              <a:spcBef>
                <a:spcPts val="600"/>
              </a:spcBef>
            </a:pPr>
            <a:r>
              <a:rPr lang="es-ES_tradnl" sz="1200" dirty="0" smtClean="0">
                <a:latin typeface="+mj-lt"/>
              </a:rPr>
              <a:t>El </a:t>
            </a:r>
            <a:r>
              <a:rPr lang="es-ES_tradnl" sz="1200" b="1" dirty="0" smtClean="0">
                <a:latin typeface="+mj-lt"/>
              </a:rPr>
              <a:t>Presente</a:t>
            </a:r>
            <a:r>
              <a:rPr lang="es-ES_tradnl" sz="1200" dirty="0" smtClean="0">
                <a:latin typeface="+mj-lt"/>
              </a:rPr>
              <a:t> del líder</a:t>
            </a:r>
            <a:endParaRPr lang="es-ES_tradnl" sz="1200" b="1" dirty="0" smtClean="0">
              <a:latin typeface="+mj-lt"/>
            </a:endParaRPr>
          </a:p>
          <a:p>
            <a:pPr>
              <a:lnSpc>
                <a:spcPct val="105000"/>
              </a:lnSpc>
              <a:spcBef>
                <a:spcPts val="1200"/>
              </a:spcBef>
            </a:pPr>
            <a:r>
              <a:rPr lang="es-ES_tradnl" sz="1200" dirty="0" smtClean="0"/>
              <a:t>Competencias críticas de Liderazgo para generar los resultados </a:t>
            </a:r>
          </a:p>
          <a:p>
            <a:pPr>
              <a:lnSpc>
                <a:spcPct val="105000"/>
              </a:lnSpc>
              <a:spcBef>
                <a:spcPts val="1200"/>
              </a:spcBef>
            </a:pPr>
            <a:r>
              <a:rPr lang="es-ES_tradnl" sz="1000" dirty="0" smtClean="0">
                <a:solidFill>
                  <a:schemeClr val="bg1">
                    <a:lumMod val="50000"/>
                  </a:schemeClr>
                </a:solidFill>
              </a:rPr>
              <a:t>Foco en clientes, Modelar la estrategia , Inspirar e Influenciar, Construir equipos y talento, Foco en resultados, Transformar y Desafiar, Liderar Innovación </a:t>
            </a:r>
            <a:endParaRPr lang="es-ES_tradnl" sz="1000" dirty="0">
              <a:solidFill>
                <a:schemeClr val="bg1">
                  <a:lumMod val="50000"/>
                </a:schemeClr>
              </a:solidFill>
            </a:endParaRPr>
          </a:p>
        </p:txBody>
      </p:sp>
      <p:sp>
        <p:nvSpPr>
          <p:cNvPr id="65" name="TextBox 64"/>
          <p:cNvSpPr txBox="1">
            <a:spLocks noChangeAspect="1"/>
          </p:cNvSpPr>
          <p:nvPr/>
        </p:nvSpPr>
        <p:spPr>
          <a:xfrm>
            <a:off x="352231" y="5389283"/>
            <a:ext cx="2990728" cy="1440625"/>
          </a:xfrm>
          <a:prstGeom prst="rect">
            <a:avLst/>
          </a:prstGeom>
          <a:noFill/>
          <a:ln w="50800">
            <a:noFill/>
          </a:ln>
        </p:spPr>
        <p:txBody>
          <a:bodyPr wrap="square" lIns="0" tIns="0" rIns="0" bIns="0" rtlCol="0">
            <a:noAutofit/>
          </a:bodyPr>
          <a:lstStyle/>
          <a:p>
            <a:pPr algn="r">
              <a:lnSpc>
                <a:spcPct val="105000"/>
              </a:lnSpc>
            </a:pPr>
            <a:r>
              <a:rPr lang="es-ES_tradnl" sz="1400" b="1" dirty="0" smtClean="0">
                <a:solidFill>
                  <a:srgbClr val="6CBF66"/>
                </a:solidFill>
                <a:latin typeface="+mj-lt"/>
              </a:rPr>
              <a:t>Encaje Cultural &amp; Impacto</a:t>
            </a:r>
          </a:p>
          <a:p>
            <a:pPr algn="r">
              <a:spcBef>
                <a:spcPts val="200"/>
              </a:spcBef>
            </a:pPr>
            <a:r>
              <a:rPr lang="es-ES_tradnl" sz="1200" dirty="0" smtClean="0">
                <a:latin typeface="+mj-lt"/>
              </a:rPr>
              <a:t>La </a:t>
            </a:r>
            <a:r>
              <a:rPr lang="es-ES_tradnl" sz="1200" b="1" dirty="0" smtClean="0">
                <a:latin typeface="+mj-lt"/>
              </a:rPr>
              <a:t>Sombra</a:t>
            </a:r>
            <a:r>
              <a:rPr lang="es-ES_tradnl" sz="1200" dirty="0" smtClean="0">
                <a:latin typeface="+mj-lt"/>
              </a:rPr>
              <a:t> del Líder</a:t>
            </a:r>
            <a:endParaRPr lang="es-ES_tradnl" sz="1200" b="1" dirty="0" smtClean="0">
              <a:latin typeface="+mj-lt"/>
            </a:endParaRPr>
          </a:p>
          <a:p>
            <a:pPr algn="r">
              <a:lnSpc>
                <a:spcPct val="105000"/>
              </a:lnSpc>
              <a:spcBef>
                <a:spcPts val="1200"/>
              </a:spcBef>
            </a:pPr>
            <a:r>
              <a:rPr lang="es-ES_tradnl" sz="1200" dirty="0" smtClean="0"/>
              <a:t>Motivaciones y valores que encajan o impactan favorablemente en la cultura</a:t>
            </a:r>
          </a:p>
          <a:p>
            <a:pPr algn="r">
              <a:lnSpc>
                <a:spcPct val="105000"/>
              </a:lnSpc>
              <a:spcBef>
                <a:spcPts val="600"/>
              </a:spcBef>
            </a:pPr>
            <a:r>
              <a:rPr lang="es-ES_tradnl" sz="1000" dirty="0" smtClean="0">
                <a:solidFill>
                  <a:schemeClr val="bg1">
                    <a:lumMod val="50000"/>
                  </a:schemeClr>
                </a:solidFill>
              </a:rPr>
              <a:t>Trabajo en equipo, estilo colaborativo, sentido de dirección/propósito</a:t>
            </a:r>
            <a:r>
              <a:rPr lang="en-GB" sz="1000" dirty="0" smtClean="0">
                <a:solidFill>
                  <a:schemeClr val="bg1">
                    <a:lumMod val="50000"/>
                  </a:schemeClr>
                </a:solidFill>
              </a:rPr>
              <a:t>.</a:t>
            </a:r>
            <a:endParaRPr lang="en-GB" sz="1000" dirty="0">
              <a:solidFill>
                <a:schemeClr val="bg1">
                  <a:lumMod val="50000"/>
                </a:schemeClr>
              </a:solidFill>
            </a:endParaRPr>
          </a:p>
        </p:txBody>
      </p:sp>
      <p:sp>
        <p:nvSpPr>
          <p:cNvPr id="68" name="TextBox 67"/>
          <p:cNvSpPr txBox="1">
            <a:spLocks noChangeAspect="1"/>
          </p:cNvSpPr>
          <p:nvPr/>
        </p:nvSpPr>
        <p:spPr>
          <a:xfrm>
            <a:off x="6559420" y="5389283"/>
            <a:ext cx="3143380" cy="1626426"/>
          </a:xfrm>
          <a:prstGeom prst="rect">
            <a:avLst/>
          </a:prstGeom>
          <a:noFill/>
          <a:ln w="50800">
            <a:noFill/>
          </a:ln>
        </p:spPr>
        <p:txBody>
          <a:bodyPr wrap="square" lIns="0" tIns="0" rIns="0" bIns="0" rtlCol="0">
            <a:noAutofit/>
          </a:bodyPr>
          <a:lstStyle/>
          <a:p>
            <a:pPr>
              <a:lnSpc>
                <a:spcPct val="105000"/>
              </a:lnSpc>
              <a:spcBef>
                <a:spcPts val="300"/>
              </a:spcBef>
            </a:pPr>
            <a:r>
              <a:rPr lang="es-ES_tradnl" sz="1400" b="1" dirty="0" smtClean="0">
                <a:solidFill>
                  <a:srgbClr val="7AC8C9"/>
                </a:solidFill>
                <a:latin typeface="+mj-lt"/>
              </a:rPr>
              <a:t>Agilidad &amp; Potencial</a:t>
            </a:r>
          </a:p>
          <a:p>
            <a:pPr>
              <a:lnSpc>
                <a:spcPct val="90000"/>
              </a:lnSpc>
              <a:spcBef>
                <a:spcPts val="300"/>
              </a:spcBef>
            </a:pPr>
            <a:r>
              <a:rPr lang="es-ES_tradnl" sz="1200" dirty="0" smtClean="0">
                <a:latin typeface="+mj-lt"/>
              </a:rPr>
              <a:t>El </a:t>
            </a:r>
            <a:r>
              <a:rPr lang="es-ES_tradnl" sz="1200" b="1" dirty="0" smtClean="0">
                <a:latin typeface="+mj-lt"/>
              </a:rPr>
              <a:t>Futuro </a:t>
            </a:r>
            <a:r>
              <a:rPr lang="es-ES_tradnl" sz="1200" dirty="0" smtClean="0">
                <a:latin typeface="+mj-lt"/>
              </a:rPr>
              <a:t>del Líder</a:t>
            </a:r>
            <a:endParaRPr lang="es-ES_tradnl" sz="1200" b="1" dirty="0" smtClean="0">
              <a:latin typeface="+mj-lt"/>
            </a:endParaRPr>
          </a:p>
          <a:p>
            <a:pPr>
              <a:lnSpc>
                <a:spcPct val="105000"/>
              </a:lnSpc>
              <a:spcBef>
                <a:spcPts val="1200"/>
              </a:spcBef>
            </a:pPr>
            <a:r>
              <a:rPr lang="es-ES_tradnl" sz="1200" dirty="0" smtClean="0"/>
              <a:t>Características clave que refuerzan y habilitan para el cumplimiento del mandato presente y cualquier otro a futuro.</a:t>
            </a:r>
          </a:p>
          <a:p>
            <a:pPr>
              <a:lnSpc>
                <a:spcPct val="105000"/>
              </a:lnSpc>
              <a:spcBef>
                <a:spcPts val="600"/>
              </a:spcBef>
            </a:pPr>
            <a:r>
              <a:rPr lang="es-ES_tradnl" sz="1000" dirty="0" smtClean="0">
                <a:solidFill>
                  <a:schemeClr val="bg1">
                    <a:lumMod val="50000"/>
                  </a:schemeClr>
                </a:solidFill>
              </a:rPr>
              <a:t>Visión, Aprendizaje, Adaptabilidad y Resiliencia</a:t>
            </a:r>
            <a:endParaRPr lang="es-ES_tradnl" sz="1000" dirty="0">
              <a:solidFill>
                <a:schemeClr val="bg1">
                  <a:lumMod val="50000"/>
                </a:schemeClr>
              </a:solidFill>
            </a:endParaRPr>
          </a:p>
        </p:txBody>
      </p:sp>
      <p:cxnSp>
        <p:nvCxnSpPr>
          <p:cNvPr id="29" name="Straight Connector 28"/>
          <p:cNvCxnSpPr/>
          <p:nvPr/>
        </p:nvCxnSpPr>
        <p:spPr>
          <a:xfrm>
            <a:off x="1071369" y="3741941"/>
            <a:ext cx="2594657" cy="0"/>
          </a:xfrm>
          <a:prstGeom prst="line">
            <a:avLst/>
          </a:prstGeom>
          <a:ln w="28575">
            <a:solidFill>
              <a:srgbClr val="679B9A"/>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654121" y="3741941"/>
            <a:ext cx="265417" cy="541174"/>
          </a:xfrm>
          <a:prstGeom prst="line">
            <a:avLst/>
          </a:prstGeom>
          <a:ln w="28575">
            <a:solidFill>
              <a:srgbClr val="679B9A"/>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071369" y="5934779"/>
            <a:ext cx="2594657" cy="0"/>
          </a:xfrm>
          <a:prstGeom prst="line">
            <a:avLst/>
          </a:prstGeom>
          <a:ln w="28575">
            <a:solidFill>
              <a:srgbClr val="6CBF6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654121" y="5275066"/>
            <a:ext cx="279435" cy="648308"/>
          </a:xfrm>
          <a:prstGeom prst="line">
            <a:avLst/>
          </a:prstGeom>
          <a:ln w="28575">
            <a:solidFill>
              <a:srgbClr val="6CBF6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5954962" y="3596195"/>
            <a:ext cx="334519" cy="610559"/>
          </a:xfrm>
          <a:prstGeom prst="line">
            <a:avLst/>
          </a:prstGeom>
          <a:ln w="28575">
            <a:solidFill>
              <a:srgbClr val="F1EF4C"/>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289481" y="3597346"/>
            <a:ext cx="2133600" cy="0"/>
          </a:xfrm>
          <a:prstGeom prst="line">
            <a:avLst/>
          </a:prstGeom>
          <a:ln w="28575">
            <a:solidFill>
              <a:srgbClr val="F1EF4C"/>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829174" y="5386020"/>
            <a:ext cx="460307" cy="537354"/>
          </a:xfrm>
          <a:prstGeom prst="line">
            <a:avLst/>
          </a:prstGeom>
          <a:ln w="28575">
            <a:solidFill>
              <a:srgbClr val="7AC8C9"/>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6289481" y="5924525"/>
            <a:ext cx="2133600" cy="0"/>
          </a:xfrm>
          <a:prstGeom prst="line">
            <a:avLst/>
          </a:prstGeom>
          <a:ln w="28575">
            <a:solidFill>
              <a:srgbClr val="7AC8C9"/>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62209" y="1318499"/>
            <a:ext cx="9148322" cy="1336326"/>
          </a:xfrm>
          <a:prstGeom prst="rect">
            <a:avLst/>
          </a:prstGeom>
          <a:noFill/>
        </p:spPr>
        <p:txBody>
          <a:bodyPr wrap="square" lIns="0" tIns="0" rIns="0" bIns="0" rtlCol="0">
            <a:noAutofit/>
          </a:bodyPr>
          <a:lstStyle/>
          <a:p>
            <a:pPr>
              <a:lnSpc>
                <a:spcPct val="105000"/>
              </a:lnSpc>
              <a:spcBef>
                <a:spcPts val="600"/>
              </a:spcBef>
              <a:buClr>
                <a:srgbClr val="6CBF66"/>
              </a:buClr>
            </a:pPr>
            <a:r>
              <a:rPr lang="es-ES_tradnl" sz="1400" b="1" dirty="0" smtClean="0"/>
              <a:t>En que consiste?</a:t>
            </a:r>
            <a:endParaRPr lang="es-ES_tradnl" sz="1400" dirty="0" smtClean="0"/>
          </a:p>
          <a:p>
            <a:pPr marL="274320" indent="-274320">
              <a:lnSpc>
                <a:spcPct val="105000"/>
              </a:lnSpc>
              <a:spcBef>
                <a:spcPts val="600"/>
              </a:spcBef>
              <a:buClr>
                <a:srgbClr val="777777"/>
              </a:buClr>
              <a:buFont typeface="Garamond" panose="02020404030301010803" pitchFamily="18" charset="0"/>
              <a:buChar char="►"/>
            </a:pPr>
            <a:r>
              <a:rPr lang="es-ES_tradnl" sz="1200" dirty="0" smtClean="0"/>
              <a:t>El Esquema Infinity es un proceso de evaluación de candidatos diseñado para ayudar a nuestros clientes a encontrar la persona adecuada para cada posición.</a:t>
            </a:r>
          </a:p>
          <a:p>
            <a:pPr marL="274320" indent="-274320">
              <a:lnSpc>
                <a:spcPct val="105000"/>
              </a:lnSpc>
              <a:spcBef>
                <a:spcPts val="600"/>
              </a:spcBef>
              <a:buClr>
                <a:srgbClr val="777777"/>
              </a:buClr>
              <a:buFont typeface="Garamond" panose="02020404030301010803" pitchFamily="18" charset="0"/>
              <a:buChar char="►"/>
            </a:pPr>
            <a:r>
              <a:rPr lang="es-ES_tradnl" sz="1200" dirty="0" smtClean="0"/>
              <a:t>Con el soporte de META -un modelo basado en datos para evaluar performance de ejecutivos- evaluamos profundamente las capacidades de liderazgo de los ejecutivos y su potencial futuro, incluyendo su encaje cultural, por contraposición al modelo tradicional que solamente evaluaba experiencia y conocimientos.</a:t>
            </a:r>
          </a:p>
          <a:p>
            <a:pPr>
              <a:lnSpc>
                <a:spcPct val="105000"/>
              </a:lnSpc>
              <a:spcBef>
                <a:spcPts val="300"/>
              </a:spcBef>
              <a:buClr>
                <a:srgbClr val="777777"/>
              </a:buClr>
            </a:pPr>
            <a:endParaRPr lang="en-US" sz="1200" dirty="0" smtClean="0"/>
          </a:p>
        </p:txBody>
      </p:sp>
    </p:spTree>
    <p:extLst>
      <p:ext uri="{BB962C8B-B14F-4D97-AF65-F5344CB8AC3E}">
        <p14:creationId xmlns:p14="http://schemas.microsoft.com/office/powerpoint/2010/main" val="4259484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smtClean="0"/>
              <a:t>Impacto de los cuadrantes </a:t>
            </a:r>
            <a:r>
              <a:rPr lang="es-ES_tradnl" dirty="0" err="1" smtClean="0"/>
              <a:t>Infinity</a:t>
            </a:r>
            <a:r>
              <a:rPr lang="es-ES_tradnl" dirty="0" smtClean="0"/>
              <a:t> a lo largo de la vida laboral en la empresa privada</a:t>
            </a:r>
            <a:endParaRPr lang="en-US" dirty="0"/>
          </a:p>
        </p:txBody>
      </p:sp>
      <p:graphicFrame>
        <p:nvGraphicFramePr>
          <p:cNvPr id="7" name="Chart 6"/>
          <p:cNvGraphicFramePr>
            <a:graphicFrameLocks/>
          </p:cNvGraphicFramePr>
          <p:nvPr>
            <p:extLst>
              <p:ext uri="{D42A27DB-BD31-4B8C-83A1-F6EECF244321}">
                <p14:modId xmlns:p14="http://schemas.microsoft.com/office/powerpoint/2010/main" val="2606300902"/>
              </p:ext>
            </p:extLst>
          </p:nvPr>
        </p:nvGraphicFramePr>
        <p:xfrm>
          <a:off x="342900" y="1281439"/>
          <a:ext cx="4572000" cy="28575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a:graphicFrameLocks/>
          </p:cNvGraphicFramePr>
          <p:nvPr>
            <p:extLst>
              <p:ext uri="{D42A27DB-BD31-4B8C-83A1-F6EECF244321}">
                <p14:modId xmlns:p14="http://schemas.microsoft.com/office/powerpoint/2010/main" val="3802241448"/>
              </p:ext>
            </p:extLst>
          </p:nvPr>
        </p:nvGraphicFramePr>
        <p:xfrm>
          <a:off x="5229530" y="1268913"/>
          <a:ext cx="4572000" cy="2857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2797980513"/>
              </p:ext>
            </p:extLst>
          </p:nvPr>
        </p:nvGraphicFramePr>
        <p:xfrm>
          <a:off x="2849584" y="4250107"/>
          <a:ext cx="4572000" cy="28575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468635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_color1"/>
          <p:cNvSpPr>
            <a:spLocks noChangeArrowheads="1"/>
          </p:cNvSpPr>
          <p:nvPr/>
        </p:nvSpPr>
        <p:spPr bwMode="gray">
          <a:xfrm>
            <a:off x="1119672" y="4708294"/>
            <a:ext cx="8780108" cy="750113"/>
          </a:xfrm>
          <a:prstGeom prst="homePlate">
            <a:avLst>
              <a:gd name="adj" fmla="val 24308"/>
            </a:avLst>
          </a:prstGeom>
          <a:solidFill>
            <a:srgbClr val="A3A285"/>
          </a:solidFill>
          <a:ln w="0">
            <a:solidFill>
              <a:schemeClr val="accent5"/>
            </a:solidFill>
            <a:miter lim="800000"/>
            <a:headEnd/>
            <a:tailEnd/>
          </a:ln>
          <a:effectLst/>
        </p:spPr>
        <p:txBody>
          <a:bodyPr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endParaRPr lang="es-ES_tradnl" sz="1600" noProof="1">
              <a:solidFill>
                <a:srgbClr val="FFFFFF"/>
              </a:solidFill>
              <a:cs typeface="Arial" charset="0"/>
            </a:endParaRPr>
          </a:p>
        </p:txBody>
      </p:sp>
      <p:sp>
        <p:nvSpPr>
          <p:cNvPr id="16" name="_color1"/>
          <p:cNvSpPr>
            <a:spLocks noChangeArrowheads="1"/>
          </p:cNvSpPr>
          <p:nvPr/>
        </p:nvSpPr>
        <p:spPr bwMode="gray">
          <a:xfrm>
            <a:off x="1119672" y="4073814"/>
            <a:ext cx="8780108" cy="458758"/>
          </a:xfrm>
          <a:prstGeom prst="homePlate">
            <a:avLst>
              <a:gd name="adj" fmla="val 24308"/>
            </a:avLst>
          </a:prstGeom>
          <a:solidFill>
            <a:srgbClr val="A4C2C0"/>
          </a:solidFill>
          <a:ln w="0">
            <a:solidFill>
              <a:schemeClr val="accent4"/>
            </a:solidFill>
            <a:miter lim="800000"/>
            <a:headEnd/>
            <a:tailEnd/>
          </a:ln>
          <a:effectLst/>
        </p:spPr>
        <p:txBody>
          <a:bodyPr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endParaRPr lang="es-ES_tradnl" sz="1600" noProof="1">
              <a:solidFill>
                <a:srgbClr val="FFFFFF"/>
              </a:solidFill>
              <a:cs typeface="Arial" charset="0"/>
            </a:endParaRPr>
          </a:p>
        </p:txBody>
      </p:sp>
      <p:sp>
        <p:nvSpPr>
          <p:cNvPr id="15" name="_color1"/>
          <p:cNvSpPr>
            <a:spLocks noChangeArrowheads="1"/>
          </p:cNvSpPr>
          <p:nvPr/>
        </p:nvSpPr>
        <p:spPr bwMode="gray">
          <a:xfrm>
            <a:off x="1119672" y="3215397"/>
            <a:ext cx="8780108" cy="682563"/>
          </a:xfrm>
          <a:prstGeom prst="homePlate">
            <a:avLst>
              <a:gd name="adj" fmla="val 24308"/>
            </a:avLst>
          </a:prstGeom>
          <a:solidFill>
            <a:srgbClr val="ABBEAA"/>
          </a:solidFill>
          <a:ln w="0">
            <a:solidFill>
              <a:schemeClr val="accent3"/>
            </a:solidFill>
            <a:miter lim="800000"/>
            <a:headEnd/>
            <a:tailEnd/>
          </a:ln>
          <a:effectLst/>
        </p:spPr>
        <p:txBody>
          <a:bodyPr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endParaRPr lang="es-ES_tradnl" sz="1600" noProof="1">
              <a:solidFill>
                <a:srgbClr val="FFFFFF"/>
              </a:solidFill>
              <a:cs typeface="Arial" charset="0"/>
            </a:endParaRPr>
          </a:p>
        </p:txBody>
      </p:sp>
      <p:sp>
        <p:nvSpPr>
          <p:cNvPr id="14" name="_color1"/>
          <p:cNvSpPr>
            <a:spLocks noChangeArrowheads="1"/>
          </p:cNvSpPr>
          <p:nvPr/>
        </p:nvSpPr>
        <p:spPr bwMode="gray">
          <a:xfrm>
            <a:off x="1119672" y="2198360"/>
            <a:ext cx="8780108" cy="811764"/>
          </a:xfrm>
          <a:prstGeom prst="homePlate">
            <a:avLst>
              <a:gd name="adj" fmla="val 24308"/>
            </a:avLst>
          </a:prstGeom>
          <a:solidFill>
            <a:srgbClr val="C2918C"/>
          </a:solidFill>
          <a:ln w="0">
            <a:solidFill>
              <a:schemeClr val="accent2"/>
            </a:solidFill>
            <a:miter lim="800000"/>
            <a:headEnd/>
            <a:tailEnd/>
          </a:ln>
          <a:effectLst/>
        </p:spPr>
        <p:txBody>
          <a:bodyPr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endParaRPr lang="es-ES_tradnl" sz="1600" noProof="1">
              <a:solidFill>
                <a:srgbClr val="FFFFFF"/>
              </a:solidFill>
              <a:cs typeface="Arial" charset="0"/>
            </a:endParaRPr>
          </a:p>
        </p:txBody>
      </p:sp>
      <p:sp>
        <p:nvSpPr>
          <p:cNvPr id="13" name="_color1"/>
          <p:cNvSpPr>
            <a:spLocks noChangeArrowheads="1"/>
          </p:cNvSpPr>
          <p:nvPr/>
        </p:nvSpPr>
        <p:spPr bwMode="gray">
          <a:xfrm>
            <a:off x="1119672" y="1315616"/>
            <a:ext cx="8780108" cy="671804"/>
          </a:xfrm>
          <a:prstGeom prst="homePlate">
            <a:avLst>
              <a:gd name="adj" fmla="val 24308"/>
            </a:avLst>
          </a:prstGeom>
          <a:solidFill>
            <a:srgbClr val="8C99AC"/>
          </a:solidFill>
          <a:ln w="0">
            <a:solidFill>
              <a:schemeClr val="accent1"/>
            </a:solidFill>
            <a:miter lim="800000"/>
            <a:headEnd/>
            <a:tailEnd/>
          </a:ln>
          <a:effectLst/>
        </p:spPr>
        <p:txBody>
          <a:bodyPr lIns="90000" tIns="46800" rIns="360000" bIns="46800" anchor="ct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defTabSz="879475">
              <a:lnSpc>
                <a:spcPct val="95000"/>
              </a:lnSpc>
              <a:spcAft>
                <a:spcPts val="875"/>
              </a:spcAft>
            </a:pPr>
            <a:endParaRPr lang="es-ES_tradnl" sz="1600" noProof="1">
              <a:solidFill>
                <a:srgbClr val="FFFFFF"/>
              </a:solidFill>
              <a:cs typeface="Arial" charset="0"/>
            </a:endParaRPr>
          </a:p>
        </p:txBody>
      </p:sp>
      <p:sp>
        <p:nvSpPr>
          <p:cNvPr id="4" name="Title 3"/>
          <p:cNvSpPr>
            <a:spLocks noGrp="1"/>
          </p:cNvSpPr>
          <p:nvPr>
            <p:ph type="title"/>
          </p:nvPr>
        </p:nvSpPr>
        <p:spPr/>
        <p:txBody>
          <a:bodyPr/>
          <a:lstStyle/>
          <a:p>
            <a:r>
              <a:rPr lang="es-ES_tradnl" dirty="0" smtClean="0"/>
              <a:t>Contratación graduados universitarios en la empresa privada</a:t>
            </a:r>
            <a:endParaRPr lang="en-US" dirty="0"/>
          </a:p>
        </p:txBody>
      </p:sp>
      <p:sp>
        <p:nvSpPr>
          <p:cNvPr id="5" name="Content Placeholder 4"/>
          <p:cNvSpPr>
            <a:spLocks noGrp="1"/>
          </p:cNvSpPr>
          <p:nvPr>
            <p:ph idx="1"/>
          </p:nvPr>
        </p:nvSpPr>
        <p:spPr>
          <a:xfrm>
            <a:off x="1238249" y="1169990"/>
            <a:ext cx="8464551" cy="4935535"/>
          </a:xfrm>
        </p:spPr>
        <p:txBody>
          <a:bodyPr>
            <a:normAutofit fontScale="25000" lnSpcReduction="20000"/>
          </a:bodyPr>
          <a:lstStyle/>
          <a:p>
            <a:endParaRPr lang="es-ES_tradnl" b="1" dirty="0" smtClean="0">
              <a:effectLst/>
            </a:endParaRPr>
          </a:p>
          <a:p>
            <a:r>
              <a:rPr lang="es-ES_tradnl" sz="4800" b="0" dirty="0" smtClean="0">
                <a:solidFill>
                  <a:schemeClr val="bg1"/>
                </a:solidFill>
                <a:effectLst/>
              </a:rPr>
              <a:t>Administración, Gestión y Dirección de Empresas, Economía y Derecho. Han supuesto el </a:t>
            </a:r>
            <a:r>
              <a:rPr lang="es-ES_tradnl" sz="4800" b="0" dirty="0" smtClean="0">
                <a:solidFill>
                  <a:schemeClr val="tx1"/>
                </a:solidFill>
                <a:effectLst/>
              </a:rPr>
              <a:t>40,2%</a:t>
            </a:r>
            <a:r>
              <a:rPr lang="es-ES_tradnl" sz="4800" b="0" dirty="0" smtClean="0">
                <a:solidFill>
                  <a:srgbClr val="C00000"/>
                </a:solidFill>
                <a:effectLst/>
              </a:rPr>
              <a:t> </a:t>
            </a:r>
            <a:r>
              <a:rPr lang="es-ES_tradnl" sz="4800" b="0" dirty="0" smtClean="0">
                <a:solidFill>
                  <a:schemeClr val="bg1"/>
                </a:solidFill>
                <a:effectLst/>
              </a:rPr>
              <a:t>de las contrataciones. Dentro este ámbito es ADE la que ha concentrado más contrataciones (56%), seguida de Economía (16%) y de Derecho (10%).</a:t>
            </a:r>
            <a:r>
              <a:rPr lang="es-ES_tradnl" sz="4800" b="0" dirty="0" smtClean="0">
                <a:solidFill>
                  <a:schemeClr val="tx1"/>
                </a:solidFill>
                <a:effectLst/>
              </a:rPr>
              <a:t/>
            </a:r>
            <a:br>
              <a:rPr lang="es-ES_tradnl" sz="4800" b="0" dirty="0" smtClean="0">
                <a:solidFill>
                  <a:schemeClr val="tx1"/>
                </a:solidFill>
                <a:effectLst/>
              </a:rPr>
            </a:br>
            <a:endParaRPr lang="es-ES_tradnl" sz="4800" b="0" dirty="0" smtClean="0">
              <a:solidFill>
                <a:schemeClr val="tx1"/>
              </a:solidFill>
              <a:effectLst/>
            </a:endParaRPr>
          </a:p>
          <a:p>
            <a:r>
              <a:rPr lang="es-ES_tradnl" sz="4800" b="0" dirty="0" smtClean="0">
                <a:solidFill>
                  <a:schemeClr val="bg1"/>
                </a:solidFill>
                <a:effectLst/>
              </a:rPr>
              <a:t>Ciencias e Ingenierías. Dentro del cómputo global, han supuesto el </a:t>
            </a:r>
            <a:r>
              <a:rPr lang="es-ES_tradnl" sz="4800" b="0" dirty="0" smtClean="0">
                <a:solidFill>
                  <a:schemeClr val="tx1"/>
                </a:solidFill>
                <a:effectLst/>
              </a:rPr>
              <a:t>27,6% </a:t>
            </a:r>
            <a:r>
              <a:rPr lang="es-ES_tradnl" sz="4800" b="0" dirty="0" smtClean="0">
                <a:solidFill>
                  <a:schemeClr val="bg1"/>
                </a:solidFill>
                <a:effectLst/>
              </a:rPr>
              <a:t>de los nuevos contratos. Y dentro de este grupo, las ingenierías representan el 86%, siendo la Ingeniería Industrial la más demandada (33%). Entre las titulaciones de Ciencias, Químicas se sitúa en primer lugar (4%), aumentando hasta representar un 10,4% si sumamos al grado de Químicas el de Ingeniería Química.</a:t>
            </a:r>
            <a:br>
              <a:rPr lang="es-ES_tradnl" sz="4800" b="0" dirty="0" smtClean="0">
                <a:solidFill>
                  <a:schemeClr val="bg1"/>
                </a:solidFill>
                <a:effectLst/>
              </a:rPr>
            </a:br>
            <a:endParaRPr lang="es-ES_tradnl" sz="4800" b="0" dirty="0" smtClean="0">
              <a:solidFill>
                <a:schemeClr val="bg1"/>
              </a:solidFill>
              <a:effectLst/>
            </a:endParaRPr>
          </a:p>
          <a:p>
            <a:r>
              <a:rPr lang="es-ES_tradnl" sz="4800" b="0" dirty="0" smtClean="0">
                <a:solidFill>
                  <a:schemeClr val="bg1"/>
                </a:solidFill>
                <a:effectLst/>
              </a:rPr>
              <a:t>Informática y Tecnología de la Información y la Comunicación (TIC). Los graduados en estos ámbitos se han llevado el </a:t>
            </a:r>
            <a:r>
              <a:rPr lang="es-ES_tradnl" sz="4800" b="0" dirty="0">
                <a:solidFill>
                  <a:schemeClr val="tx1"/>
                </a:solidFill>
              </a:rPr>
              <a:t>17,7% </a:t>
            </a:r>
            <a:r>
              <a:rPr lang="es-ES_tradnl" sz="4800" b="0" dirty="0" smtClean="0">
                <a:solidFill>
                  <a:schemeClr val="bg1"/>
                </a:solidFill>
                <a:effectLst/>
              </a:rPr>
              <a:t>de las contrataciones. De este grupo, la Ingeniería Informática (61%) y la Ingeniería en Tecnologías de Telecomunicación (33%) son las dos titulaciones protagonistas.</a:t>
            </a:r>
            <a:r>
              <a:rPr lang="es-ES_tradnl" sz="4800" b="0" dirty="0" smtClean="0">
                <a:solidFill>
                  <a:schemeClr val="tx1"/>
                </a:solidFill>
                <a:effectLst/>
              </a:rPr>
              <a:t/>
            </a:r>
            <a:br>
              <a:rPr lang="es-ES_tradnl" sz="4800" b="0" dirty="0" smtClean="0">
                <a:solidFill>
                  <a:schemeClr val="tx1"/>
                </a:solidFill>
                <a:effectLst/>
              </a:rPr>
            </a:br>
            <a:endParaRPr lang="es-ES_tradnl" sz="4800" b="0" dirty="0" smtClean="0">
              <a:solidFill>
                <a:schemeClr val="tx1"/>
              </a:solidFill>
              <a:effectLst/>
            </a:endParaRPr>
          </a:p>
          <a:p>
            <a:r>
              <a:rPr lang="es-ES_tradnl" sz="4800" b="0" dirty="0" smtClean="0">
                <a:solidFill>
                  <a:schemeClr val="bg1"/>
                </a:solidFill>
                <a:effectLst/>
              </a:rPr>
              <a:t>Salud y Bienestar. Los graduados en el ámbito de las Ciencias de la Salud han conseguido el </a:t>
            </a:r>
            <a:r>
              <a:rPr lang="es-ES_tradnl" sz="4800" b="0" dirty="0">
                <a:solidFill>
                  <a:schemeClr val="tx1"/>
                </a:solidFill>
              </a:rPr>
              <a:t>9,7%</a:t>
            </a:r>
            <a:r>
              <a:rPr lang="es-ES_tradnl" sz="4800" b="0" dirty="0" smtClean="0">
                <a:solidFill>
                  <a:srgbClr val="C00000"/>
                </a:solidFill>
                <a:effectLst/>
              </a:rPr>
              <a:t> </a:t>
            </a:r>
            <a:r>
              <a:rPr lang="es-ES_tradnl" sz="4800" b="0" dirty="0" smtClean="0">
                <a:solidFill>
                  <a:schemeClr val="bg1"/>
                </a:solidFill>
                <a:effectLst/>
              </a:rPr>
              <a:t>de los contratos. Es Enfermería la que concentra más contrataciones (28%).</a:t>
            </a:r>
            <a:r>
              <a:rPr lang="es-ES_tradnl" sz="4800" b="0" dirty="0" smtClean="0">
                <a:solidFill>
                  <a:schemeClr val="tx1"/>
                </a:solidFill>
                <a:effectLst/>
              </a:rPr>
              <a:t/>
            </a:r>
            <a:br>
              <a:rPr lang="es-ES_tradnl" sz="4800" b="0" dirty="0" smtClean="0">
                <a:solidFill>
                  <a:schemeClr val="tx1"/>
                </a:solidFill>
                <a:effectLst/>
              </a:rPr>
            </a:br>
            <a:r>
              <a:rPr lang="es-ES_tradnl" sz="4800" b="0" dirty="0" smtClean="0">
                <a:solidFill>
                  <a:schemeClr val="tx1"/>
                </a:solidFill>
                <a:effectLst/>
              </a:rPr>
              <a:t/>
            </a:r>
            <a:br>
              <a:rPr lang="es-ES_tradnl" sz="4800" b="0" dirty="0" smtClean="0">
                <a:solidFill>
                  <a:schemeClr val="tx1"/>
                </a:solidFill>
                <a:effectLst/>
              </a:rPr>
            </a:br>
            <a:r>
              <a:rPr lang="es-ES_tradnl" sz="4800" b="0" dirty="0" smtClean="0">
                <a:solidFill>
                  <a:schemeClr val="tx1"/>
                </a:solidFill>
                <a:effectLst/>
              </a:rPr>
              <a:t/>
            </a:r>
            <a:br>
              <a:rPr lang="es-ES_tradnl" sz="4800" b="0" dirty="0" smtClean="0">
                <a:solidFill>
                  <a:schemeClr val="tx1"/>
                </a:solidFill>
                <a:effectLst/>
              </a:rPr>
            </a:br>
            <a:r>
              <a:rPr lang="es-ES_tradnl" sz="4800" b="0" dirty="0" smtClean="0">
                <a:solidFill>
                  <a:schemeClr val="bg1"/>
                </a:solidFill>
                <a:effectLst/>
              </a:rPr>
              <a:t>Humanidades y otras Ciencias Sociales. Los graduados en estas disciplinas han sido los que peor parados han salido y sólo han supuesto el </a:t>
            </a:r>
            <a:r>
              <a:rPr lang="es-ES_tradnl" sz="4800" b="0" dirty="0">
                <a:solidFill>
                  <a:schemeClr val="tx1"/>
                </a:solidFill>
              </a:rPr>
              <a:t>4,8%</a:t>
            </a:r>
            <a:r>
              <a:rPr lang="es-ES_tradnl" sz="4800" b="0" dirty="0" smtClean="0">
                <a:solidFill>
                  <a:schemeClr val="bg1"/>
                </a:solidFill>
                <a:effectLst/>
              </a:rPr>
              <a:t> de los nuevos contratos que han realizado las empresas. La titulación más demanda es Ciencias del Trabajo y Recursos Humanos (26,6%), seguida de Periodismo (13%) y Publicidad (8%).</a:t>
            </a:r>
          </a:p>
          <a:p>
            <a:r>
              <a:rPr lang="es-ES_tradnl" sz="3600" dirty="0" smtClean="0"/>
              <a:t>	</a:t>
            </a:r>
            <a:r>
              <a:rPr lang="es-ES_tradnl" dirty="0" smtClean="0"/>
              <a:t>							</a:t>
            </a:r>
            <a:r>
              <a:rPr lang="es-ES_tradnl" sz="4000" b="0" dirty="0" smtClean="0"/>
              <a:t>	</a:t>
            </a:r>
            <a:endParaRPr lang="es-ES_tradnl" sz="3600" b="0" dirty="0"/>
          </a:p>
        </p:txBody>
      </p:sp>
      <p:pic>
        <p:nvPicPr>
          <p:cNvPr id="1026" name="Picture 2" descr="Resultado de imagen de LINE DRAWING HEALTH"/>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2939" y="4024206"/>
            <a:ext cx="615950" cy="61595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434134" y="1360963"/>
            <a:ext cx="553561" cy="553562"/>
            <a:chOff x="8707438" y="4673600"/>
            <a:chExt cx="503237" cy="503238"/>
          </a:xfrm>
          <a:noFill/>
        </p:grpSpPr>
        <p:sp>
          <p:nvSpPr>
            <p:cNvPr id="7" name="Freeform 69"/>
            <p:cNvSpPr>
              <a:spLocks noEditPoints="1"/>
            </p:cNvSpPr>
            <p:nvPr/>
          </p:nvSpPr>
          <p:spPr bwMode="auto">
            <a:xfrm>
              <a:off x="8707438" y="4673600"/>
              <a:ext cx="503237" cy="503238"/>
            </a:xfrm>
            <a:custGeom>
              <a:avLst/>
              <a:gdLst>
                <a:gd name="T0" fmla="*/ 1689 w 3483"/>
                <a:gd name="T1" fmla="*/ 3262 h 3485"/>
                <a:gd name="T2" fmla="*/ 1816 w 3483"/>
                <a:gd name="T3" fmla="*/ 3061 h 3485"/>
                <a:gd name="T4" fmla="*/ 2621 w 3483"/>
                <a:gd name="T5" fmla="*/ 2764 h 3485"/>
                <a:gd name="T6" fmla="*/ 2850 w 3483"/>
                <a:gd name="T7" fmla="*/ 2786 h 3485"/>
                <a:gd name="T8" fmla="*/ 698 w 3483"/>
                <a:gd name="T9" fmla="*/ 2630 h 3485"/>
                <a:gd name="T10" fmla="*/ 720 w 3483"/>
                <a:gd name="T11" fmla="*/ 2858 h 3485"/>
                <a:gd name="T12" fmla="*/ 827 w 3483"/>
                <a:gd name="T13" fmla="*/ 2657 h 3485"/>
                <a:gd name="T14" fmla="*/ 3036 w 3483"/>
                <a:gd name="T15" fmla="*/ 1770 h 3485"/>
                <a:gd name="T16" fmla="*/ 3271 w 3483"/>
                <a:gd name="T17" fmla="*/ 1743 h 3485"/>
                <a:gd name="T18" fmla="*/ 224 w 3483"/>
                <a:gd name="T19" fmla="*/ 1691 h 3485"/>
                <a:gd name="T20" fmla="*/ 424 w 3483"/>
                <a:gd name="T21" fmla="*/ 1818 h 3485"/>
                <a:gd name="T22" fmla="*/ 1605 w 3483"/>
                <a:gd name="T23" fmla="*/ 1047 h 3485"/>
                <a:gd name="T24" fmla="*/ 1044 w 3483"/>
                <a:gd name="T25" fmla="*/ 1608 h 3485"/>
                <a:gd name="T26" fmla="*/ 1209 w 3483"/>
                <a:gd name="T27" fmla="*/ 2122 h 3485"/>
                <a:gd name="T28" fmla="*/ 1520 w 3483"/>
                <a:gd name="T29" fmla="*/ 1968 h 3485"/>
                <a:gd name="T30" fmla="*/ 1663 w 3483"/>
                <a:gd name="T31" fmla="*/ 2100 h 3485"/>
                <a:gd name="T32" fmla="*/ 1741 w 3483"/>
                <a:gd name="T33" fmla="*/ 2041 h 3485"/>
                <a:gd name="T34" fmla="*/ 1818 w 3483"/>
                <a:gd name="T35" fmla="*/ 2100 h 3485"/>
                <a:gd name="T36" fmla="*/ 1961 w 3483"/>
                <a:gd name="T37" fmla="*/ 1968 h 3485"/>
                <a:gd name="T38" fmla="*/ 2273 w 3483"/>
                <a:gd name="T39" fmla="*/ 2122 h 3485"/>
                <a:gd name="T40" fmla="*/ 2436 w 3483"/>
                <a:gd name="T41" fmla="*/ 1608 h 3485"/>
                <a:gd name="T42" fmla="*/ 1874 w 3483"/>
                <a:gd name="T43" fmla="*/ 1047 h 3485"/>
                <a:gd name="T44" fmla="*/ 2629 w 3483"/>
                <a:gd name="T45" fmla="*/ 790 h 3485"/>
                <a:gd name="T46" fmla="*/ 2857 w 3483"/>
                <a:gd name="T47" fmla="*/ 768 h 3485"/>
                <a:gd name="T48" fmla="*/ 677 w 3483"/>
                <a:gd name="T49" fmla="*/ 645 h 3485"/>
                <a:gd name="T50" fmla="*/ 744 w 3483"/>
                <a:gd name="T51" fmla="*/ 864 h 3485"/>
                <a:gd name="T52" fmla="*/ 809 w 3483"/>
                <a:gd name="T53" fmla="*/ 645 h 3485"/>
                <a:gd name="T54" fmla="*/ 1634 w 3483"/>
                <a:gd name="T55" fmla="*/ 384 h 3485"/>
                <a:gd name="T56" fmla="*/ 1857 w 3483"/>
                <a:gd name="T57" fmla="*/ 304 h 3485"/>
                <a:gd name="T58" fmla="*/ 1975 w 3483"/>
                <a:gd name="T59" fmla="*/ 97 h 3485"/>
                <a:gd name="T60" fmla="*/ 1933 w 3483"/>
                <a:gd name="T61" fmla="*/ 600 h 3485"/>
                <a:gd name="T62" fmla="*/ 2416 w 3483"/>
                <a:gd name="T63" fmla="*/ 808 h 3485"/>
                <a:gd name="T64" fmla="*/ 2681 w 3483"/>
                <a:gd name="T65" fmla="*/ 419 h 3485"/>
                <a:gd name="T66" fmla="*/ 3064 w 3483"/>
                <a:gd name="T67" fmla="*/ 686 h 3485"/>
                <a:gd name="T68" fmla="*/ 2792 w 3483"/>
                <a:gd name="T69" fmla="*/ 1071 h 3485"/>
                <a:gd name="T70" fmla="*/ 2648 w 3483"/>
                <a:gd name="T71" fmla="*/ 1632 h 3485"/>
                <a:gd name="T72" fmla="*/ 3280 w 3483"/>
                <a:gd name="T73" fmla="*/ 1439 h 3485"/>
                <a:gd name="T74" fmla="*/ 3437 w 3483"/>
                <a:gd name="T75" fmla="*/ 1910 h 3485"/>
                <a:gd name="T76" fmla="*/ 2959 w 3483"/>
                <a:gd name="T77" fmla="*/ 2011 h 3485"/>
                <a:gd name="T78" fmla="*/ 2462 w 3483"/>
                <a:gd name="T79" fmla="*/ 2305 h 3485"/>
                <a:gd name="T80" fmla="*/ 3024 w 3483"/>
                <a:gd name="T81" fmla="*/ 2573 h 3485"/>
                <a:gd name="T82" fmla="*/ 2908 w 3483"/>
                <a:gd name="T83" fmla="*/ 3025 h 3485"/>
                <a:gd name="T84" fmla="*/ 2455 w 3483"/>
                <a:gd name="T85" fmla="*/ 2909 h 3485"/>
                <a:gd name="T86" fmla="*/ 2063 w 3483"/>
                <a:gd name="T87" fmla="*/ 2598 h 3485"/>
                <a:gd name="T88" fmla="*/ 2071 w 3483"/>
                <a:gd name="T89" fmla="*/ 3155 h 3485"/>
                <a:gd name="T90" fmla="*/ 1696 w 3483"/>
                <a:gd name="T91" fmla="*/ 3482 h 3485"/>
                <a:gd name="T92" fmla="*/ 1422 w 3483"/>
                <a:gd name="T93" fmla="*/ 3071 h 3485"/>
                <a:gd name="T94" fmla="*/ 1357 w 3483"/>
                <a:gd name="T95" fmla="*/ 2572 h 3485"/>
                <a:gd name="T96" fmla="*/ 1005 w 3483"/>
                <a:gd name="T97" fmla="*/ 2943 h 3485"/>
                <a:gd name="T98" fmla="*/ 540 w 3483"/>
                <a:gd name="T99" fmla="*/ 3003 h 3485"/>
                <a:gd name="T100" fmla="*/ 482 w 3483"/>
                <a:gd name="T101" fmla="*/ 2539 h 3485"/>
                <a:gd name="T102" fmla="*/ 980 w 3483"/>
                <a:gd name="T103" fmla="*/ 2248 h 3485"/>
                <a:gd name="T104" fmla="*/ 491 w 3483"/>
                <a:gd name="T105" fmla="*/ 2032 h 3485"/>
                <a:gd name="T106" fmla="*/ 26 w 3483"/>
                <a:gd name="T107" fmla="*/ 1872 h 3485"/>
                <a:gd name="T108" fmla="*/ 243 w 3483"/>
                <a:gd name="T109" fmla="*/ 1424 h 3485"/>
                <a:gd name="T110" fmla="*/ 847 w 3483"/>
                <a:gd name="T111" fmla="*/ 1558 h 3485"/>
                <a:gd name="T112" fmla="*/ 652 w 3483"/>
                <a:gd name="T113" fmla="*/ 1061 h 3485"/>
                <a:gd name="T114" fmla="*/ 427 w 3483"/>
                <a:gd name="T115" fmla="*/ 647 h 3485"/>
                <a:gd name="T116" fmla="*/ 840 w 3483"/>
                <a:gd name="T117" fmla="*/ 427 h 3485"/>
                <a:gd name="T118" fmla="*/ 1057 w 3483"/>
                <a:gd name="T119" fmla="*/ 846 h 3485"/>
                <a:gd name="T120" fmla="*/ 1529 w 3483"/>
                <a:gd name="T121" fmla="*/ 583 h 3485"/>
                <a:gd name="T122" fmla="*/ 1508 w 3483"/>
                <a:gd name="T123" fmla="*/ 97 h 3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83" h="3485">
                  <a:moveTo>
                    <a:pt x="1741" y="3035"/>
                  </a:moveTo>
                  <a:lnTo>
                    <a:pt x="1714" y="3038"/>
                  </a:lnTo>
                  <a:lnTo>
                    <a:pt x="1689" y="3048"/>
                  </a:lnTo>
                  <a:lnTo>
                    <a:pt x="1667" y="3061"/>
                  </a:lnTo>
                  <a:lnTo>
                    <a:pt x="1649" y="3079"/>
                  </a:lnTo>
                  <a:lnTo>
                    <a:pt x="1634" y="3102"/>
                  </a:lnTo>
                  <a:lnTo>
                    <a:pt x="1625" y="3127"/>
                  </a:lnTo>
                  <a:lnTo>
                    <a:pt x="1622" y="3155"/>
                  </a:lnTo>
                  <a:lnTo>
                    <a:pt x="1625" y="3182"/>
                  </a:lnTo>
                  <a:lnTo>
                    <a:pt x="1634" y="3207"/>
                  </a:lnTo>
                  <a:lnTo>
                    <a:pt x="1649" y="3229"/>
                  </a:lnTo>
                  <a:lnTo>
                    <a:pt x="1667" y="3247"/>
                  </a:lnTo>
                  <a:lnTo>
                    <a:pt x="1689" y="3262"/>
                  </a:lnTo>
                  <a:lnTo>
                    <a:pt x="1714" y="3270"/>
                  </a:lnTo>
                  <a:lnTo>
                    <a:pt x="1741" y="3273"/>
                  </a:lnTo>
                  <a:lnTo>
                    <a:pt x="1768" y="3270"/>
                  </a:lnTo>
                  <a:lnTo>
                    <a:pt x="1794" y="3262"/>
                  </a:lnTo>
                  <a:lnTo>
                    <a:pt x="1816" y="3247"/>
                  </a:lnTo>
                  <a:lnTo>
                    <a:pt x="1834" y="3229"/>
                  </a:lnTo>
                  <a:lnTo>
                    <a:pt x="1848" y="3207"/>
                  </a:lnTo>
                  <a:lnTo>
                    <a:pt x="1857" y="3182"/>
                  </a:lnTo>
                  <a:lnTo>
                    <a:pt x="1861" y="3155"/>
                  </a:lnTo>
                  <a:lnTo>
                    <a:pt x="1857" y="3127"/>
                  </a:lnTo>
                  <a:lnTo>
                    <a:pt x="1848" y="3102"/>
                  </a:lnTo>
                  <a:lnTo>
                    <a:pt x="1834" y="3079"/>
                  </a:lnTo>
                  <a:lnTo>
                    <a:pt x="1816" y="3061"/>
                  </a:lnTo>
                  <a:lnTo>
                    <a:pt x="1794" y="3048"/>
                  </a:lnTo>
                  <a:lnTo>
                    <a:pt x="1768" y="3038"/>
                  </a:lnTo>
                  <a:lnTo>
                    <a:pt x="1741" y="3035"/>
                  </a:lnTo>
                  <a:close/>
                  <a:moveTo>
                    <a:pt x="2739" y="2623"/>
                  </a:moveTo>
                  <a:lnTo>
                    <a:pt x="2717" y="2625"/>
                  </a:lnTo>
                  <a:lnTo>
                    <a:pt x="2694" y="2631"/>
                  </a:lnTo>
                  <a:lnTo>
                    <a:pt x="2673" y="2642"/>
                  </a:lnTo>
                  <a:lnTo>
                    <a:pt x="2655" y="2657"/>
                  </a:lnTo>
                  <a:lnTo>
                    <a:pt x="2639" y="2676"/>
                  </a:lnTo>
                  <a:lnTo>
                    <a:pt x="2629" y="2697"/>
                  </a:lnTo>
                  <a:lnTo>
                    <a:pt x="2621" y="2718"/>
                  </a:lnTo>
                  <a:lnTo>
                    <a:pt x="2619" y="2741"/>
                  </a:lnTo>
                  <a:lnTo>
                    <a:pt x="2621" y="2764"/>
                  </a:lnTo>
                  <a:lnTo>
                    <a:pt x="2629" y="2786"/>
                  </a:lnTo>
                  <a:lnTo>
                    <a:pt x="2639" y="2807"/>
                  </a:lnTo>
                  <a:lnTo>
                    <a:pt x="2655" y="2826"/>
                  </a:lnTo>
                  <a:lnTo>
                    <a:pt x="2673" y="2841"/>
                  </a:lnTo>
                  <a:lnTo>
                    <a:pt x="2694" y="2853"/>
                  </a:lnTo>
                  <a:lnTo>
                    <a:pt x="2717" y="2859"/>
                  </a:lnTo>
                  <a:lnTo>
                    <a:pt x="2740" y="2861"/>
                  </a:lnTo>
                  <a:lnTo>
                    <a:pt x="2762" y="2859"/>
                  </a:lnTo>
                  <a:lnTo>
                    <a:pt x="2784" y="2853"/>
                  </a:lnTo>
                  <a:lnTo>
                    <a:pt x="2806" y="2841"/>
                  </a:lnTo>
                  <a:lnTo>
                    <a:pt x="2824" y="2826"/>
                  </a:lnTo>
                  <a:lnTo>
                    <a:pt x="2838" y="2807"/>
                  </a:lnTo>
                  <a:lnTo>
                    <a:pt x="2850" y="2786"/>
                  </a:lnTo>
                  <a:lnTo>
                    <a:pt x="2857" y="2764"/>
                  </a:lnTo>
                  <a:lnTo>
                    <a:pt x="2859" y="2741"/>
                  </a:lnTo>
                  <a:lnTo>
                    <a:pt x="2857" y="2718"/>
                  </a:lnTo>
                  <a:lnTo>
                    <a:pt x="2850" y="2697"/>
                  </a:lnTo>
                  <a:lnTo>
                    <a:pt x="2838" y="2676"/>
                  </a:lnTo>
                  <a:lnTo>
                    <a:pt x="2824" y="2657"/>
                  </a:lnTo>
                  <a:lnTo>
                    <a:pt x="2805" y="2642"/>
                  </a:lnTo>
                  <a:lnTo>
                    <a:pt x="2784" y="2631"/>
                  </a:lnTo>
                  <a:lnTo>
                    <a:pt x="2762" y="2625"/>
                  </a:lnTo>
                  <a:lnTo>
                    <a:pt x="2739" y="2623"/>
                  </a:lnTo>
                  <a:close/>
                  <a:moveTo>
                    <a:pt x="743" y="2622"/>
                  </a:moveTo>
                  <a:lnTo>
                    <a:pt x="720" y="2624"/>
                  </a:lnTo>
                  <a:lnTo>
                    <a:pt x="698" y="2630"/>
                  </a:lnTo>
                  <a:lnTo>
                    <a:pt x="677" y="2641"/>
                  </a:lnTo>
                  <a:lnTo>
                    <a:pt x="659" y="2657"/>
                  </a:lnTo>
                  <a:lnTo>
                    <a:pt x="643" y="2676"/>
                  </a:lnTo>
                  <a:lnTo>
                    <a:pt x="632" y="2696"/>
                  </a:lnTo>
                  <a:lnTo>
                    <a:pt x="626" y="2718"/>
                  </a:lnTo>
                  <a:lnTo>
                    <a:pt x="624" y="2741"/>
                  </a:lnTo>
                  <a:lnTo>
                    <a:pt x="626" y="2764"/>
                  </a:lnTo>
                  <a:lnTo>
                    <a:pt x="632" y="2786"/>
                  </a:lnTo>
                  <a:lnTo>
                    <a:pt x="643" y="2807"/>
                  </a:lnTo>
                  <a:lnTo>
                    <a:pt x="659" y="2825"/>
                  </a:lnTo>
                  <a:lnTo>
                    <a:pt x="678" y="2841"/>
                  </a:lnTo>
                  <a:lnTo>
                    <a:pt x="698" y="2852"/>
                  </a:lnTo>
                  <a:lnTo>
                    <a:pt x="720" y="2858"/>
                  </a:lnTo>
                  <a:lnTo>
                    <a:pt x="744" y="2860"/>
                  </a:lnTo>
                  <a:lnTo>
                    <a:pt x="766" y="2858"/>
                  </a:lnTo>
                  <a:lnTo>
                    <a:pt x="788" y="2852"/>
                  </a:lnTo>
                  <a:lnTo>
                    <a:pt x="809" y="2841"/>
                  </a:lnTo>
                  <a:lnTo>
                    <a:pt x="827" y="2825"/>
                  </a:lnTo>
                  <a:lnTo>
                    <a:pt x="843" y="2807"/>
                  </a:lnTo>
                  <a:lnTo>
                    <a:pt x="854" y="2786"/>
                  </a:lnTo>
                  <a:lnTo>
                    <a:pt x="861" y="2764"/>
                  </a:lnTo>
                  <a:lnTo>
                    <a:pt x="863" y="2741"/>
                  </a:lnTo>
                  <a:lnTo>
                    <a:pt x="861" y="2718"/>
                  </a:lnTo>
                  <a:lnTo>
                    <a:pt x="854" y="2696"/>
                  </a:lnTo>
                  <a:lnTo>
                    <a:pt x="843" y="2676"/>
                  </a:lnTo>
                  <a:lnTo>
                    <a:pt x="827" y="2657"/>
                  </a:lnTo>
                  <a:lnTo>
                    <a:pt x="809" y="2641"/>
                  </a:lnTo>
                  <a:lnTo>
                    <a:pt x="788" y="2630"/>
                  </a:lnTo>
                  <a:lnTo>
                    <a:pt x="766" y="2624"/>
                  </a:lnTo>
                  <a:lnTo>
                    <a:pt x="743" y="2622"/>
                  </a:lnTo>
                  <a:close/>
                  <a:moveTo>
                    <a:pt x="3152" y="1624"/>
                  </a:moveTo>
                  <a:lnTo>
                    <a:pt x="3125" y="1627"/>
                  </a:lnTo>
                  <a:lnTo>
                    <a:pt x="3100" y="1636"/>
                  </a:lnTo>
                  <a:lnTo>
                    <a:pt x="3078" y="1651"/>
                  </a:lnTo>
                  <a:lnTo>
                    <a:pt x="3059" y="1669"/>
                  </a:lnTo>
                  <a:lnTo>
                    <a:pt x="3045" y="1691"/>
                  </a:lnTo>
                  <a:lnTo>
                    <a:pt x="3036" y="1716"/>
                  </a:lnTo>
                  <a:lnTo>
                    <a:pt x="3032" y="1743"/>
                  </a:lnTo>
                  <a:lnTo>
                    <a:pt x="3036" y="1770"/>
                  </a:lnTo>
                  <a:lnTo>
                    <a:pt x="3045" y="1796"/>
                  </a:lnTo>
                  <a:lnTo>
                    <a:pt x="3059" y="1818"/>
                  </a:lnTo>
                  <a:lnTo>
                    <a:pt x="3078" y="1836"/>
                  </a:lnTo>
                  <a:lnTo>
                    <a:pt x="3100" y="1850"/>
                  </a:lnTo>
                  <a:lnTo>
                    <a:pt x="3125" y="1859"/>
                  </a:lnTo>
                  <a:lnTo>
                    <a:pt x="3152" y="1863"/>
                  </a:lnTo>
                  <a:lnTo>
                    <a:pt x="3180" y="1859"/>
                  </a:lnTo>
                  <a:lnTo>
                    <a:pt x="3204" y="1850"/>
                  </a:lnTo>
                  <a:lnTo>
                    <a:pt x="3226" y="1836"/>
                  </a:lnTo>
                  <a:lnTo>
                    <a:pt x="3245" y="1818"/>
                  </a:lnTo>
                  <a:lnTo>
                    <a:pt x="3259" y="1796"/>
                  </a:lnTo>
                  <a:lnTo>
                    <a:pt x="3268" y="1770"/>
                  </a:lnTo>
                  <a:lnTo>
                    <a:pt x="3271" y="1743"/>
                  </a:lnTo>
                  <a:lnTo>
                    <a:pt x="3268" y="1716"/>
                  </a:lnTo>
                  <a:lnTo>
                    <a:pt x="3259" y="1691"/>
                  </a:lnTo>
                  <a:lnTo>
                    <a:pt x="3245" y="1669"/>
                  </a:lnTo>
                  <a:lnTo>
                    <a:pt x="3226" y="1651"/>
                  </a:lnTo>
                  <a:lnTo>
                    <a:pt x="3204" y="1636"/>
                  </a:lnTo>
                  <a:lnTo>
                    <a:pt x="3180" y="1627"/>
                  </a:lnTo>
                  <a:lnTo>
                    <a:pt x="3152" y="1624"/>
                  </a:lnTo>
                  <a:close/>
                  <a:moveTo>
                    <a:pt x="331" y="1624"/>
                  </a:moveTo>
                  <a:lnTo>
                    <a:pt x="303" y="1627"/>
                  </a:lnTo>
                  <a:lnTo>
                    <a:pt x="279" y="1636"/>
                  </a:lnTo>
                  <a:lnTo>
                    <a:pt x="256" y="1651"/>
                  </a:lnTo>
                  <a:lnTo>
                    <a:pt x="237" y="1669"/>
                  </a:lnTo>
                  <a:lnTo>
                    <a:pt x="224" y="1691"/>
                  </a:lnTo>
                  <a:lnTo>
                    <a:pt x="215" y="1716"/>
                  </a:lnTo>
                  <a:lnTo>
                    <a:pt x="212" y="1743"/>
                  </a:lnTo>
                  <a:lnTo>
                    <a:pt x="215" y="1770"/>
                  </a:lnTo>
                  <a:lnTo>
                    <a:pt x="224" y="1796"/>
                  </a:lnTo>
                  <a:lnTo>
                    <a:pt x="237" y="1818"/>
                  </a:lnTo>
                  <a:lnTo>
                    <a:pt x="256" y="1836"/>
                  </a:lnTo>
                  <a:lnTo>
                    <a:pt x="279" y="1850"/>
                  </a:lnTo>
                  <a:lnTo>
                    <a:pt x="303" y="1859"/>
                  </a:lnTo>
                  <a:lnTo>
                    <a:pt x="331" y="1863"/>
                  </a:lnTo>
                  <a:lnTo>
                    <a:pt x="358" y="1859"/>
                  </a:lnTo>
                  <a:lnTo>
                    <a:pt x="382" y="1850"/>
                  </a:lnTo>
                  <a:lnTo>
                    <a:pt x="405" y="1836"/>
                  </a:lnTo>
                  <a:lnTo>
                    <a:pt x="424" y="1818"/>
                  </a:lnTo>
                  <a:lnTo>
                    <a:pt x="438" y="1796"/>
                  </a:lnTo>
                  <a:lnTo>
                    <a:pt x="446" y="1770"/>
                  </a:lnTo>
                  <a:lnTo>
                    <a:pt x="449" y="1743"/>
                  </a:lnTo>
                  <a:lnTo>
                    <a:pt x="446" y="1716"/>
                  </a:lnTo>
                  <a:lnTo>
                    <a:pt x="438" y="1691"/>
                  </a:lnTo>
                  <a:lnTo>
                    <a:pt x="424" y="1669"/>
                  </a:lnTo>
                  <a:lnTo>
                    <a:pt x="405" y="1651"/>
                  </a:lnTo>
                  <a:lnTo>
                    <a:pt x="382" y="1636"/>
                  </a:lnTo>
                  <a:lnTo>
                    <a:pt x="358" y="1627"/>
                  </a:lnTo>
                  <a:lnTo>
                    <a:pt x="331" y="1624"/>
                  </a:lnTo>
                  <a:close/>
                  <a:moveTo>
                    <a:pt x="1740" y="1035"/>
                  </a:moveTo>
                  <a:lnTo>
                    <a:pt x="1672" y="1038"/>
                  </a:lnTo>
                  <a:lnTo>
                    <a:pt x="1605" y="1047"/>
                  </a:lnTo>
                  <a:lnTo>
                    <a:pt x="1541" y="1062"/>
                  </a:lnTo>
                  <a:lnTo>
                    <a:pt x="1479" y="1084"/>
                  </a:lnTo>
                  <a:lnTo>
                    <a:pt x="1420" y="1110"/>
                  </a:lnTo>
                  <a:lnTo>
                    <a:pt x="1364" y="1142"/>
                  </a:lnTo>
                  <a:lnTo>
                    <a:pt x="1312" y="1179"/>
                  </a:lnTo>
                  <a:lnTo>
                    <a:pt x="1262" y="1220"/>
                  </a:lnTo>
                  <a:lnTo>
                    <a:pt x="1216" y="1265"/>
                  </a:lnTo>
                  <a:lnTo>
                    <a:pt x="1176" y="1315"/>
                  </a:lnTo>
                  <a:lnTo>
                    <a:pt x="1139" y="1368"/>
                  </a:lnTo>
                  <a:lnTo>
                    <a:pt x="1107" y="1424"/>
                  </a:lnTo>
                  <a:lnTo>
                    <a:pt x="1081" y="1482"/>
                  </a:lnTo>
                  <a:lnTo>
                    <a:pt x="1059" y="1545"/>
                  </a:lnTo>
                  <a:lnTo>
                    <a:pt x="1044" y="1608"/>
                  </a:lnTo>
                  <a:lnTo>
                    <a:pt x="1034" y="1675"/>
                  </a:lnTo>
                  <a:lnTo>
                    <a:pt x="1031" y="1743"/>
                  </a:lnTo>
                  <a:lnTo>
                    <a:pt x="1034" y="1804"/>
                  </a:lnTo>
                  <a:lnTo>
                    <a:pt x="1041" y="1865"/>
                  </a:lnTo>
                  <a:lnTo>
                    <a:pt x="1054" y="1923"/>
                  </a:lnTo>
                  <a:lnTo>
                    <a:pt x="1072" y="1979"/>
                  </a:lnTo>
                  <a:lnTo>
                    <a:pt x="1093" y="2033"/>
                  </a:lnTo>
                  <a:lnTo>
                    <a:pt x="1120" y="2085"/>
                  </a:lnTo>
                  <a:lnTo>
                    <a:pt x="1150" y="2135"/>
                  </a:lnTo>
                  <a:lnTo>
                    <a:pt x="1183" y="2182"/>
                  </a:lnTo>
                  <a:lnTo>
                    <a:pt x="1190" y="2160"/>
                  </a:lnTo>
                  <a:lnTo>
                    <a:pt x="1198" y="2141"/>
                  </a:lnTo>
                  <a:lnTo>
                    <a:pt x="1209" y="2122"/>
                  </a:lnTo>
                  <a:lnTo>
                    <a:pt x="1223" y="2105"/>
                  </a:lnTo>
                  <a:lnTo>
                    <a:pt x="1239" y="2092"/>
                  </a:lnTo>
                  <a:lnTo>
                    <a:pt x="1259" y="2079"/>
                  </a:lnTo>
                  <a:lnTo>
                    <a:pt x="1283" y="2070"/>
                  </a:lnTo>
                  <a:lnTo>
                    <a:pt x="1318" y="2061"/>
                  </a:lnTo>
                  <a:lnTo>
                    <a:pt x="1352" y="2050"/>
                  </a:lnTo>
                  <a:lnTo>
                    <a:pt x="1384" y="2038"/>
                  </a:lnTo>
                  <a:lnTo>
                    <a:pt x="1413" y="2025"/>
                  </a:lnTo>
                  <a:lnTo>
                    <a:pt x="1440" y="2012"/>
                  </a:lnTo>
                  <a:lnTo>
                    <a:pt x="1465" y="1999"/>
                  </a:lnTo>
                  <a:lnTo>
                    <a:pt x="1486" y="1987"/>
                  </a:lnTo>
                  <a:lnTo>
                    <a:pt x="1505" y="1976"/>
                  </a:lnTo>
                  <a:lnTo>
                    <a:pt x="1520" y="1968"/>
                  </a:lnTo>
                  <a:lnTo>
                    <a:pt x="1531" y="1960"/>
                  </a:lnTo>
                  <a:lnTo>
                    <a:pt x="1537" y="1956"/>
                  </a:lnTo>
                  <a:lnTo>
                    <a:pt x="1541" y="1954"/>
                  </a:lnTo>
                  <a:lnTo>
                    <a:pt x="1630" y="2238"/>
                  </a:lnTo>
                  <a:lnTo>
                    <a:pt x="1648" y="2292"/>
                  </a:lnTo>
                  <a:lnTo>
                    <a:pt x="1648" y="2291"/>
                  </a:lnTo>
                  <a:lnTo>
                    <a:pt x="1662" y="2335"/>
                  </a:lnTo>
                  <a:lnTo>
                    <a:pt x="1709" y="2202"/>
                  </a:lnTo>
                  <a:lnTo>
                    <a:pt x="1692" y="2175"/>
                  </a:lnTo>
                  <a:lnTo>
                    <a:pt x="1679" y="2153"/>
                  </a:lnTo>
                  <a:lnTo>
                    <a:pt x="1671" y="2133"/>
                  </a:lnTo>
                  <a:lnTo>
                    <a:pt x="1666" y="2116"/>
                  </a:lnTo>
                  <a:lnTo>
                    <a:pt x="1663" y="2100"/>
                  </a:lnTo>
                  <a:lnTo>
                    <a:pt x="1663" y="2087"/>
                  </a:lnTo>
                  <a:lnTo>
                    <a:pt x="1667" y="2077"/>
                  </a:lnTo>
                  <a:lnTo>
                    <a:pt x="1672" y="2067"/>
                  </a:lnTo>
                  <a:lnTo>
                    <a:pt x="1678" y="2060"/>
                  </a:lnTo>
                  <a:lnTo>
                    <a:pt x="1686" y="2054"/>
                  </a:lnTo>
                  <a:lnTo>
                    <a:pt x="1694" y="2049"/>
                  </a:lnTo>
                  <a:lnTo>
                    <a:pt x="1703" y="2046"/>
                  </a:lnTo>
                  <a:lnTo>
                    <a:pt x="1712" y="2044"/>
                  </a:lnTo>
                  <a:lnTo>
                    <a:pt x="1720" y="2043"/>
                  </a:lnTo>
                  <a:lnTo>
                    <a:pt x="1727" y="2042"/>
                  </a:lnTo>
                  <a:lnTo>
                    <a:pt x="1733" y="2041"/>
                  </a:lnTo>
                  <a:lnTo>
                    <a:pt x="1738" y="2041"/>
                  </a:lnTo>
                  <a:lnTo>
                    <a:pt x="1741" y="2041"/>
                  </a:lnTo>
                  <a:lnTo>
                    <a:pt x="1743" y="2041"/>
                  </a:lnTo>
                  <a:lnTo>
                    <a:pt x="1747" y="2041"/>
                  </a:lnTo>
                  <a:lnTo>
                    <a:pt x="1754" y="2042"/>
                  </a:lnTo>
                  <a:lnTo>
                    <a:pt x="1761" y="2043"/>
                  </a:lnTo>
                  <a:lnTo>
                    <a:pt x="1769" y="2044"/>
                  </a:lnTo>
                  <a:lnTo>
                    <a:pt x="1778" y="2046"/>
                  </a:lnTo>
                  <a:lnTo>
                    <a:pt x="1786" y="2049"/>
                  </a:lnTo>
                  <a:lnTo>
                    <a:pt x="1795" y="2054"/>
                  </a:lnTo>
                  <a:lnTo>
                    <a:pt x="1803" y="2060"/>
                  </a:lnTo>
                  <a:lnTo>
                    <a:pt x="1810" y="2067"/>
                  </a:lnTo>
                  <a:lnTo>
                    <a:pt x="1814" y="2077"/>
                  </a:lnTo>
                  <a:lnTo>
                    <a:pt x="1817" y="2087"/>
                  </a:lnTo>
                  <a:lnTo>
                    <a:pt x="1818" y="2100"/>
                  </a:lnTo>
                  <a:lnTo>
                    <a:pt x="1816" y="2116"/>
                  </a:lnTo>
                  <a:lnTo>
                    <a:pt x="1811" y="2133"/>
                  </a:lnTo>
                  <a:lnTo>
                    <a:pt x="1802" y="2153"/>
                  </a:lnTo>
                  <a:lnTo>
                    <a:pt x="1790" y="2175"/>
                  </a:lnTo>
                  <a:lnTo>
                    <a:pt x="1772" y="2202"/>
                  </a:lnTo>
                  <a:lnTo>
                    <a:pt x="1819" y="2335"/>
                  </a:lnTo>
                  <a:lnTo>
                    <a:pt x="1834" y="2291"/>
                  </a:lnTo>
                  <a:lnTo>
                    <a:pt x="1834" y="2292"/>
                  </a:lnTo>
                  <a:lnTo>
                    <a:pt x="1851" y="2238"/>
                  </a:lnTo>
                  <a:lnTo>
                    <a:pt x="1941" y="1954"/>
                  </a:lnTo>
                  <a:lnTo>
                    <a:pt x="1943" y="1956"/>
                  </a:lnTo>
                  <a:lnTo>
                    <a:pt x="1951" y="1960"/>
                  </a:lnTo>
                  <a:lnTo>
                    <a:pt x="1961" y="1968"/>
                  </a:lnTo>
                  <a:lnTo>
                    <a:pt x="1976" y="1976"/>
                  </a:lnTo>
                  <a:lnTo>
                    <a:pt x="1995" y="1987"/>
                  </a:lnTo>
                  <a:lnTo>
                    <a:pt x="2016" y="1999"/>
                  </a:lnTo>
                  <a:lnTo>
                    <a:pt x="2042" y="2012"/>
                  </a:lnTo>
                  <a:lnTo>
                    <a:pt x="2068" y="2025"/>
                  </a:lnTo>
                  <a:lnTo>
                    <a:pt x="2098" y="2038"/>
                  </a:lnTo>
                  <a:lnTo>
                    <a:pt x="2130" y="2050"/>
                  </a:lnTo>
                  <a:lnTo>
                    <a:pt x="2164" y="2061"/>
                  </a:lnTo>
                  <a:lnTo>
                    <a:pt x="2197" y="2070"/>
                  </a:lnTo>
                  <a:lnTo>
                    <a:pt x="2222" y="2079"/>
                  </a:lnTo>
                  <a:lnTo>
                    <a:pt x="2242" y="2092"/>
                  </a:lnTo>
                  <a:lnTo>
                    <a:pt x="2259" y="2105"/>
                  </a:lnTo>
                  <a:lnTo>
                    <a:pt x="2273" y="2122"/>
                  </a:lnTo>
                  <a:lnTo>
                    <a:pt x="2283" y="2141"/>
                  </a:lnTo>
                  <a:lnTo>
                    <a:pt x="2292" y="2160"/>
                  </a:lnTo>
                  <a:lnTo>
                    <a:pt x="2298" y="2182"/>
                  </a:lnTo>
                  <a:lnTo>
                    <a:pt x="2332" y="2135"/>
                  </a:lnTo>
                  <a:lnTo>
                    <a:pt x="2362" y="2085"/>
                  </a:lnTo>
                  <a:lnTo>
                    <a:pt x="2387" y="2033"/>
                  </a:lnTo>
                  <a:lnTo>
                    <a:pt x="2409" y="1979"/>
                  </a:lnTo>
                  <a:lnTo>
                    <a:pt x="2426" y="1923"/>
                  </a:lnTo>
                  <a:lnTo>
                    <a:pt x="2439" y="1865"/>
                  </a:lnTo>
                  <a:lnTo>
                    <a:pt x="2446" y="1804"/>
                  </a:lnTo>
                  <a:lnTo>
                    <a:pt x="2449" y="1743"/>
                  </a:lnTo>
                  <a:lnTo>
                    <a:pt x="2445" y="1675"/>
                  </a:lnTo>
                  <a:lnTo>
                    <a:pt x="2436" y="1608"/>
                  </a:lnTo>
                  <a:lnTo>
                    <a:pt x="2420" y="1545"/>
                  </a:lnTo>
                  <a:lnTo>
                    <a:pt x="2399" y="1482"/>
                  </a:lnTo>
                  <a:lnTo>
                    <a:pt x="2372" y="1424"/>
                  </a:lnTo>
                  <a:lnTo>
                    <a:pt x="2341" y="1368"/>
                  </a:lnTo>
                  <a:lnTo>
                    <a:pt x="2304" y="1315"/>
                  </a:lnTo>
                  <a:lnTo>
                    <a:pt x="2263" y="1265"/>
                  </a:lnTo>
                  <a:lnTo>
                    <a:pt x="2218" y="1220"/>
                  </a:lnTo>
                  <a:lnTo>
                    <a:pt x="2169" y="1179"/>
                  </a:lnTo>
                  <a:lnTo>
                    <a:pt x="2116" y="1142"/>
                  </a:lnTo>
                  <a:lnTo>
                    <a:pt x="2060" y="1110"/>
                  </a:lnTo>
                  <a:lnTo>
                    <a:pt x="2000" y="1084"/>
                  </a:lnTo>
                  <a:lnTo>
                    <a:pt x="1939" y="1062"/>
                  </a:lnTo>
                  <a:lnTo>
                    <a:pt x="1874" y="1047"/>
                  </a:lnTo>
                  <a:lnTo>
                    <a:pt x="1808" y="1038"/>
                  </a:lnTo>
                  <a:lnTo>
                    <a:pt x="1740" y="1035"/>
                  </a:lnTo>
                  <a:close/>
                  <a:moveTo>
                    <a:pt x="2739" y="626"/>
                  </a:moveTo>
                  <a:lnTo>
                    <a:pt x="2717" y="629"/>
                  </a:lnTo>
                  <a:lnTo>
                    <a:pt x="2694" y="635"/>
                  </a:lnTo>
                  <a:lnTo>
                    <a:pt x="2673" y="646"/>
                  </a:lnTo>
                  <a:lnTo>
                    <a:pt x="2655" y="661"/>
                  </a:lnTo>
                  <a:lnTo>
                    <a:pt x="2639" y="680"/>
                  </a:lnTo>
                  <a:lnTo>
                    <a:pt x="2629" y="700"/>
                  </a:lnTo>
                  <a:lnTo>
                    <a:pt x="2621" y="722"/>
                  </a:lnTo>
                  <a:lnTo>
                    <a:pt x="2619" y="745"/>
                  </a:lnTo>
                  <a:lnTo>
                    <a:pt x="2621" y="768"/>
                  </a:lnTo>
                  <a:lnTo>
                    <a:pt x="2629" y="790"/>
                  </a:lnTo>
                  <a:lnTo>
                    <a:pt x="2639" y="811"/>
                  </a:lnTo>
                  <a:lnTo>
                    <a:pt x="2655" y="830"/>
                  </a:lnTo>
                  <a:lnTo>
                    <a:pt x="2673" y="845"/>
                  </a:lnTo>
                  <a:lnTo>
                    <a:pt x="2694" y="857"/>
                  </a:lnTo>
                  <a:lnTo>
                    <a:pt x="2717" y="863"/>
                  </a:lnTo>
                  <a:lnTo>
                    <a:pt x="2740" y="865"/>
                  </a:lnTo>
                  <a:lnTo>
                    <a:pt x="2762" y="863"/>
                  </a:lnTo>
                  <a:lnTo>
                    <a:pt x="2784" y="857"/>
                  </a:lnTo>
                  <a:lnTo>
                    <a:pt x="2806" y="845"/>
                  </a:lnTo>
                  <a:lnTo>
                    <a:pt x="2824" y="830"/>
                  </a:lnTo>
                  <a:lnTo>
                    <a:pt x="2838" y="811"/>
                  </a:lnTo>
                  <a:lnTo>
                    <a:pt x="2850" y="790"/>
                  </a:lnTo>
                  <a:lnTo>
                    <a:pt x="2857" y="768"/>
                  </a:lnTo>
                  <a:lnTo>
                    <a:pt x="2859" y="745"/>
                  </a:lnTo>
                  <a:lnTo>
                    <a:pt x="2857" y="722"/>
                  </a:lnTo>
                  <a:lnTo>
                    <a:pt x="2850" y="700"/>
                  </a:lnTo>
                  <a:lnTo>
                    <a:pt x="2838" y="680"/>
                  </a:lnTo>
                  <a:lnTo>
                    <a:pt x="2824" y="661"/>
                  </a:lnTo>
                  <a:lnTo>
                    <a:pt x="2805" y="646"/>
                  </a:lnTo>
                  <a:lnTo>
                    <a:pt x="2784" y="635"/>
                  </a:lnTo>
                  <a:lnTo>
                    <a:pt x="2762" y="629"/>
                  </a:lnTo>
                  <a:lnTo>
                    <a:pt x="2739" y="626"/>
                  </a:lnTo>
                  <a:close/>
                  <a:moveTo>
                    <a:pt x="743" y="626"/>
                  </a:moveTo>
                  <a:lnTo>
                    <a:pt x="720" y="628"/>
                  </a:lnTo>
                  <a:lnTo>
                    <a:pt x="698" y="634"/>
                  </a:lnTo>
                  <a:lnTo>
                    <a:pt x="677" y="645"/>
                  </a:lnTo>
                  <a:lnTo>
                    <a:pt x="659" y="661"/>
                  </a:lnTo>
                  <a:lnTo>
                    <a:pt x="643" y="679"/>
                  </a:lnTo>
                  <a:lnTo>
                    <a:pt x="632" y="700"/>
                  </a:lnTo>
                  <a:lnTo>
                    <a:pt x="626" y="722"/>
                  </a:lnTo>
                  <a:lnTo>
                    <a:pt x="624" y="745"/>
                  </a:lnTo>
                  <a:lnTo>
                    <a:pt x="626" y="768"/>
                  </a:lnTo>
                  <a:lnTo>
                    <a:pt x="632" y="790"/>
                  </a:lnTo>
                  <a:lnTo>
                    <a:pt x="643" y="811"/>
                  </a:lnTo>
                  <a:lnTo>
                    <a:pt x="659" y="829"/>
                  </a:lnTo>
                  <a:lnTo>
                    <a:pt x="678" y="845"/>
                  </a:lnTo>
                  <a:lnTo>
                    <a:pt x="698" y="856"/>
                  </a:lnTo>
                  <a:lnTo>
                    <a:pt x="720" y="862"/>
                  </a:lnTo>
                  <a:lnTo>
                    <a:pt x="744" y="864"/>
                  </a:lnTo>
                  <a:lnTo>
                    <a:pt x="766" y="862"/>
                  </a:lnTo>
                  <a:lnTo>
                    <a:pt x="788" y="856"/>
                  </a:lnTo>
                  <a:lnTo>
                    <a:pt x="809" y="845"/>
                  </a:lnTo>
                  <a:lnTo>
                    <a:pt x="827" y="829"/>
                  </a:lnTo>
                  <a:lnTo>
                    <a:pt x="843" y="811"/>
                  </a:lnTo>
                  <a:lnTo>
                    <a:pt x="854" y="790"/>
                  </a:lnTo>
                  <a:lnTo>
                    <a:pt x="861" y="768"/>
                  </a:lnTo>
                  <a:lnTo>
                    <a:pt x="863" y="745"/>
                  </a:lnTo>
                  <a:lnTo>
                    <a:pt x="861" y="722"/>
                  </a:lnTo>
                  <a:lnTo>
                    <a:pt x="854" y="700"/>
                  </a:lnTo>
                  <a:lnTo>
                    <a:pt x="843" y="679"/>
                  </a:lnTo>
                  <a:lnTo>
                    <a:pt x="827" y="661"/>
                  </a:lnTo>
                  <a:lnTo>
                    <a:pt x="809" y="645"/>
                  </a:lnTo>
                  <a:lnTo>
                    <a:pt x="788" y="634"/>
                  </a:lnTo>
                  <a:lnTo>
                    <a:pt x="766" y="628"/>
                  </a:lnTo>
                  <a:lnTo>
                    <a:pt x="743" y="626"/>
                  </a:lnTo>
                  <a:close/>
                  <a:moveTo>
                    <a:pt x="1741" y="212"/>
                  </a:moveTo>
                  <a:lnTo>
                    <a:pt x="1714" y="215"/>
                  </a:lnTo>
                  <a:lnTo>
                    <a:pt x="1689" y="225"/>
                  </a:lnTo>
                  <a:lnTo>
                    <a:pt x="1667" y="239"/>
                  </a:lnTo>
                  <a:lnTo>
                    <a:pt x="1649" y="258"/>
                  </a:lnTo>
                  <a:lnTo>
                    <a:pt x="1634" y="279"/>
                  </a:lnTo>
                  <a:lnTo>
                    <a:pt x="1625" y="304"/>
                  </a:lnTo>
                  <a:lnTo>
                    <a:pt x="1622" y="332"/>
                  </a:lnTo>
                  <a:lnTo>
                    <a:pt x="1625" y="360"/>
                  </a:lnTo>
                  <a:lnTo>
                    <a:pt x="1634" y="384"/>
                  </a:lnTo>
                  <a:lnTo>
                    <a:pt x="1649" y="406"/>
                  </a:lnTo>
                  <a:lnTo>
                    <a:pt x="1667" y="425"/>
                  </a:lnTo>
                  <a:lnTo>
                    <a:pt x="1689" y="439"/>
                  </a:lnTo>
                  <a:lnTo>
                    <a:pt x="1714" y="448"/>
                  </a:lnTo>
                  <a:lnTo>
                    <a:pt x="1741" y="451"/>
                  </a:lnTo>
                  <a:lnTo>
                    <a:pt x="1768" y="448"/>
                  </a:lnTo>
                  <a:lnTo>
                    <a:pt x="1794" y="439"/>
                  </a:lnTo>
                  <a:lnTo>
                    <a:pt x="1816" y="425"/>
                  </a:lnTo>
                  <a:lnTo>
                    <a:pt x="1834" y="406"/>
                  </a:lnTo>
                  <a:lnTo>
                    <a:pt x="1848" y="384"/>
                  </a:lnTo>
                  <a:lnTo>
                    <a:pt x="1857" y="360"/>
                  </a:lnTo>
                  <a:lnTo>
                    <a:pt x="1861" y="332"/>
                  </a:lnTo>
                  <a:lnTo>
                    <a:pt x="1857" y="304"/>
                  </a:lnTo>
                  <a:lnTo>
                    <a:pt x="1848" y="279"/>
                  </a:lnTo>
                  <a:lnTo>
                    <a:pt x="1834" y="258"/>
                  </a:lnTo>
                  <a:lnTo>
                    <a:pt x="1816" y="239"/>
                  </a:lnTo>
                  <a:lnTo>
                    <a:pt x="1794" y="225"/>
                  </a:lnTo>
                  <a:lnTo>
                    <a:pt x="1768" y="215"/>
                  </a:lnTo>
                  <a:lnTo>
                    <a:pt x="1741" y="212"/>
                  </a:lnTo>
                  <a:close/>
                  <a:moveTo>
                    <a:pt x="1741" y="0"/>
                  </a:moveTo>
                  <a:lnTo>
                    <a:pt x="1786" y="3"/>
                  </a:lnTo>
                  <a:lnTo>
                    <a:pt x="1829" y="12"/>
                  </a:lnTo>
                  <a:lnTo>
                    <a:pt x="1870" y="26"/>
                  </a:lnTo>
                  <a:lnTo>
                    <a:pt x="1908" y="45"/>
                  </a:lnTo>
                  <a:lnTo>
                    <a:pt x="1943" y="69"/>
                  </a:lnTo>
                  <a:lnTo>
                    <a:pt x="1975" y="97"/>
                  </a:lnTo>
                  <a:lnTo>
                    <a:pt x="2003" y="128"/>
                  </a:lnTo>
                  <a:lnTo>
                    <a:pt x="2027" y="163"/>
                  </a:lnTo>
                  <a:lnTo>
                    <a:pt x="2046" y="202"/>
                  </a:lnTo>
                  <a:lnTo>
                    <a:pt x="2060" y="243"/>
                  </a:lnTo>
                  <a:lnTo>
                    <a:pt x="2068" y="285"/>
                  </a:lnTo>
                  <a:lnTo>
                    <a:pt x="2071" y="331"/>
                  </a:lnTo>
                  <a:lnTo>
                    <a:pt x="2068" y="378"/>
                  </a:lnTo>
                  <a:lnTo>
                    <a:pt x="2059" y="422"/>
                  </a:lnTo>
                  <a:lnTo>
                    <a:pt x="2044" y="464"/>
                  </a:lnTo>
                  <a:lnTo>
                    <a:pt x="2023" y="504"/>
                  </a:lnTo>
                  <a:lnTo>
                    <a:pt x="1997" y="540"/>
                  </a:lnTo>
                  <a:lnTo>
                    <a:pt x="1966" y="572"/>
                  </a:lnTo>
                  <a:lnTo>
                    <a:pt x="1933" y="600"/>
                  </a:lnTo>
                  <a:lnTo>
                    <a:pt x="1894" y="623"/>
                  </a:lnTo>
                  <a:lnTo>
                    <a:pt x="1853" y="640"/>
                  </a:lnTo>
                  <a:lnTo>
                    <a:pt x="1853" y="835"/>
                  </a:lnTo>
                  <a:lnTo>
                    <a:pt x="1924" y="847"/>
                  </a:lnTo>
                  <a:lnTo>
                    <a:pt x="1994" y="864"/>
                  </a:lnTo>
                  <a:lnTo>
                    <a:pt x="2061" y="886"/>
                  </a:lnTo>
                  <a:lnTo>
                    <a:pt x="2125" y="914"/>
                  </a:lnTo>
                  <a:lnTo>
                    <a:pt x="2188" y="946"/>
                  </a:lnTo>
                  <a:lnTo>
                    <a:pt x="2247" y="982"/>
                  </a:lnTo>
                  <a:lnTo>
                    <a:pt x="2302" y="1022"/>
                  </a:lnTo>
                  <a:lnTo>
                    <a:pt x="2440" y="884"/>
                  </a:lnTo>
                  <a:lnTo>
                    <a:pt x="2425" y="847"/>
                  </a:lnTo>
                  <a:lnTo>
                    <a:pt x="2416" y="808"/>
                  </a:lnTo>
                  <a:lnTo>
                    <a:pt x="2410" y="769"/>
                  </a:lnTo>
                  <a:lnTo>
                    <a:pt x="2409" y="729"/>
                  </a:lnTo>
                  <a:lnTo>
                    <a:pt x="2414" y="689"/>
                  </a:lnTo>
                  <a:lnTo>
                    <a:pt x="2422" y="651"/>
                  </a:lnTo>
                  <a:lnTo>
                    <a:pt x="2436" y="613"/>
                  </a:lnTo>
                  <a:lnTo>
                    <a:pt x="2454" y="577"/>
                  </a:lnTo>
                  <a:lnTo>
                    <a:pt x="2477" y="542"/>
                  </a:lnTo>
                  <a:lnTo>
                    <a:pt x="2506" y="510"/>
                  </a:lnTo>
                  <a:lnTo>
                    <a:pt x="2537" y="482"/>
                  </a:lnTo>
                  <a:lnTo>
                    <a:pt x="2570" y="460"/>
                  </a:lnTo>
                  <a:lnTo>
                    <a:pt x="2605" y="441"/>
                  </a:lnTo>
                  <a:lnTo>
                    <a:pt x="2642" y="427"/>
                  </a:lnTo>
                  <a:lnTo>
                    <a:pt x="2681" y="419"/>
                  </a:lnTo>
                  <a:lnTo>
                    <a:pt x="2720" y="414"/>
                  </a:lnTo>
                  <a:lnTo>
                    <a:pt x="2759" y="414"/>
                  </a:lnTo>
                  <a:lnTo>
                    <a:pt x="2797" y="419"/>
                  </a:lnTo>
                  <a:lnTo>
                    <a:pt x="2835" y="427"/>
                  </a:lnTo>
                  <a:lnTo>
                    <a:pt x="2872" y="441"/>
                  </a:lnTo>
                  <a:lnTo>
                    <a:pt x="2908" y="460"/>
                  </a:lnTo>
                  <a:lnTo>
                    <a:pt x="2941" y="482"/>
                  </a:lnTo>
                  <a:lnTo>
                    <a:pt x="2973" y="510"/>
                  </a:lnTo>
                  <a:lnTo>
                    <a:pt x="3001" y="542"/>
                  </a:lnTo>
                  <a:lnTo>
                    <a:pt x="3023" y="575"/>
                  </a:lnTo>
                  <a:lnTo>
                    <a:pt x="3042" y="611"/>
                  </a:lnTo>
                  <a:lnTo>
                    <a:pt x="3056" y="648"/>
                  </a:lnTo>
                  <a:lnTo>
                    <a:pt x="3064" y="686"/>
                  </a:lnTo>
                  <a:lnTo>
                    <a:pt x="3069" y="724"/>
                  </a:lnTo>
                  <a:lnTo>
                    <a:pt x="3069" y="763"/>
                  </a:lnTo>
                  <a:lnTo>
                    <a:pt x="3064" y="803"/>
                  </a:lnTo>
                  <a:lnTo>
                    <a:pt x="3056" y="841"/>
                  </a:lnTo>
                  <a:lnTo>
                    <a:pt x="3042" y="878"/>
                  </a:lnTo>
                  <a:lnTo>
                    <a:pt x="3023" y="913"/>
                  </a:lnTo>
                  <a:lnTo>
                    <a:pt x="3001" y="947"/>
                  </a:lnTo>
                  <a:lnTo>
                    <a:pt x="2973" y="978"/>
                  </a:lnTo>
                  <a:lnTo>
                    <a:pt x="2941" y="1006"/>
                  </a:lnTo>
                  <a:lnTo>
                    <a:pt x="2906" y="1029"/>
                  </a:lnTo>
                  <a:lnTo>
                    <a:pt x="2869" y="1049"/>
                  </a:lnTo>
                  <a:lnTo>
                    <a:pt x="2831" y="1062"/>
                  </a:lnTo>
                  <a:lnTo>
                    <a:pt x="2792" y="1071"/>
                  </a:lnTo>
                  <a:lnTo>
                    <a:pt x="2752" y="1075"/>
                  </a:lnTo>
                  <a:lnTo>
                    <a:pt x="2711" y="1074"/>
                  </a:lnTo>
                  <a:lnTo>
                    <a:pt x="2672" y="1068"/>
                  </a:lnTo>
                  <a:lnTo>
                    <a:pt x="2633" y="1057"/>
                  </a:lnTo>
                  <a:lnTo>
                    <a:pt x="2595" y="1041"/>
                  </a:lnTo>
                  <a:lnTo>
                    <a:pt x="2458" y="1178"/>
                  </a:lnTo>
                  <a:lnTo>
                    <a:pt x="2499" y="1234"/>
                  </a:lnTo>
                  <a:lnTo>
                    <a:pt x="2537" y="1294"/>
                  </a:lnTo>
                  <a:lnTo>
                    <a:pt x="2568" y="1357"/>
                  </a:lnTo>
                  <a:lnTo>
                    <a:pt x="2596" y="1422"/>
                  </a:lnTo>
                  <a:lnTo>
                    <a:pt x="2618" y="1489"/>
                  </a:lnTo>
                  <a:lnTo>
                    <a:pt x="2636" y="1559"/>
                  </a:lnTo>
                  <a:lnTo>
                    <a:pt x="2648" y="1632"/>
                  </a:lnTo>
                  <a:lnTo>
                    <a:pt x="2842" y="1632"/>
                  </a:lnTo>
                  <a:lnTo>
                    <a:pt x="2860" y="1590"/>
                  </a:lnTo>
                  <a:lnTo>
                    <a:pt x="2883" y="1552"/>
                  </a:lnTo>
                  <a:lnTo>
                    <a:pt x="2911" y="1518"/>
                  </a:lnTo>
                  <a:lnTo>
                    <a:pt x="2942" y="1487"/>
                  </a:lnTo>
                  <a:lnTo>
                    <a:pt x="2978" y="1462"/>
                  </a:lnTo>
                  <a:lnTo>
                    <a:pt x="3018" y="1441"/>
                  </a:lnTo>
                  <a:lnTo>
                    <a:pt x="3060" y="1426"/>
                  </a:lnTo>
                  <a:lnTo>
                    <a:pt x="3106" y="1416"/>
                  </a:lnTo>
                  <a:lnTo>
                    <a:pt x="3152" y="1413"/>
                  </a:lnTo>
                  <a:lnTo>
                    <a:pt x="3197" y="1415"/>
                  </a:lnTo>
                  <a:lnTo>
                    <a:pt x="3240" y="1425"/>
                  </a:lnTo>
                  <a:lnTo>
                    <a:pt x="3280" y="1439"/>
                  </a:lnTo>
                  <a:lnTo>
                    <a:pt x="3318" y="1458"/>
                  </a:lnTo>
                  <a:lnTo>
                    <a:pt x="3354" y="1481"/>
                  </a:lnTo>
                  <a:lnTo>
                    <a:pt x="3385" y="1510"/>
                  </a:lnTo>
                  <a:lnTo>
                    <a:pt x="3414" y="1541"/>
                  </a:lnTo>
                  <a:lnTo>
                    <a:pt x="3437" y="1576"/>
                  </a:lnTo>
                  <a:lnTo>
                    <a:pt x="3456" y="1615"/>
                  </a:lnTo>
                  <a:lnTo>
                    <a:pt x="3471" y="1655"/>
                  </a:lnTo>
                  <a:lnTo>
                    <a:pt x="3480" y="1698"/>
                  </a:lnTo>
                  <a:lnTo>
                    <a:pt x="3483" y="1743"/>
                  </a:lnTo>
                  <a:lnTo>
                    <a:pt x="3480" y="1788"/>
                  </a:lnTo>
                  <a:lnTo>
                    <a:pt x="3471" y="1831"/>
                  </a:lnTo>
                  <a:lnTo>
                    <a:pt x="3456" y="1872"/>
                  </a:lnTo>
                  <a:lnTo>
                    <a:pt x="3437" y="1910"/>
                  </a:lnTo>
                  <a:lnTo>
                    <a:pt x="3414" y="1945"/>
                  </a:lnTo>
                  <a:lnTo>
                    <a:pt x="3385" y="1977"/>
                  </a:lnTo>
                  <a:lnTo>
                    <a:pt x="3354" y="2005"/>
                  </a:lnTo>
                  <a:lnTo>
                    <a:pt x="3318" y="2029"/>
                  </a:lnTo>
                  <a:lnTo>
                    <a:pt x="3280" y="2048"/>
                  </a:lnTo>
                  <a:lnTo>
                    <a:pt x="3240" y="2062"/>
                  </a:lnTo>
                  <a:lnTo>
                    <a:pt x="3197" y="2070"/>
                  </a:lnTo>
                  <a:lnTo>
                    <a:pt x="3152" y="2074"/>
                  </a:lnTo>
                  <a:lnTo>
                    <a:pt x="3110" y="2071"/>
                  </a:lnTo>
                  <a:lnTo>
                    <a:pt x="3068" y="2063"/>
                  </a:lnTo>
                  <a:lnTo>
                    <a:pt x="3029" y="2050"/>
                  </a:lnTo>
                  <a:lnTo>
                    <a:pt x="2993" y="2032"/>
                  </a:lnTo>
                  <a:lnTo>
                    <a:pt x="2959" y="2011"/>
                  </a:lnTo>
                  <a:lnTo>
                    <a:pt x="2927" y="1986"/>
                  </a:lnTo>
                  <a:lnTo>
                    <a:pt x="2900" y="1956"/>
                  </a:lnTo>
                  <a:lnTo>
                    <a:pt x="2876" y="1924"/>
                  </a:lnTo>
                  <a:lnTo>
                    <a:pt x="2855" y="1889"/>
                  </a:lnTo>
                  <a:lnTo>
                    <a:pt x="2841" y="1851"/>
                  </a:lnTo>
                  <a:lnTo>
                    <a:pt x="2649" y="1851"/>
                  </a:lnTo>
                  <a:lnTo>
                    <a:pt x="2637" y="1923"/>
                  </a:lnTo>
                  <a:lnTo>
                    <a:pt x="2621" y="1993"/>
                  </a:lnTo>
                  <a:lnTo>
                    <a:pt x="2599" y="2061"/>
                  </a:lnTo>
                  <a:lnTo>
                    <a:pt x="2571" y="2125"/>
                  </a:lnTo>
                  <a:lnTo>
                    <a:pt x="2540" y="2188"/>
                  </a:lnTo>
                  <a:lnTo>
                    <a:pt x="2503" y="2248"/>
                  </a:lnTo>
                  <a:lnTo>
                    <a:pt x="2462" y="2305"/>
                  </a:lnTo>
                  <a:lnTo>
                    <a:pt x="2600" y="2442"/>
                  </a:lnTo>
                  <a:lnTo>
                    <a:pt x="2637" y="2428"/>
                  </a:lnTo>
                  <a:lnTo>
                    <a:pt x="2675" y="2418"/>
                  </a:lnTo>
                  <a:lnTo>
                    <a:pt x="2716" y="2412"/>
                  </a:lnTo>
                  <a:lnTo>
                    <a:pt x="2755" y="2412"/>
                  </a:lnTo>
                  <a:lnTo>
                    <a:pt x="2794" y="2416"/>
                  </a:lnTo>
                  <a:lnTo>
                    <a:pt x="2833" y="2424"/>
                  </a:lnTo>
                  <a:lnTo>
                    <a:pt x="2871" y="2438"/>
                  </a:lnTo>
                  <a:lnTo>
                    <a:pt x="2907" y="2456"/>
                  </a:lnTo>
                  <a:lnTo>
                    <a:pt x="2942" y="2480"/>
                  </a:lnTo>
                  <a:lnTo>
                    <a:pt x="2974" y="2508"/>
                  </a:lnTo>
                  <a:lnTo>
                    <a:pt x="3002" y="2539"/>
                  </a:lnTo>
                  <a:lnTo>
                    <a:pt x="3024" y="2573"/>
                  </a:lnTo>
                  <a:lnTo>
                    <a:pt x="3042" y="2608"/>
                  </a:lnTo>
                  <a:lnTo>
                    <a:pt x="3056" y="2645"/>
                  </a:lnTo>
                  <a:lnTo>
                    <a:pt x="3065" y="2683"/>
                  </a:lnTo>
                  <a:lnTo>
                    <a:pt x="3069" y="2722"/>
                  </a:lnTo>
                  <a:lnTo>
                    <a:pt x="3069" y="2761"/>
                  </a:lnTo>
                  <a:lnTo>
                    <a:pt x="3065" y="2800"/>
                  </a:lnTo>
                  <a:lnTo>
                    <a:pt x="3056" y="2838"/>
                  </a:lnTo>
                  <a:lnTo>
                    <a:pt x="3042" y="2875"/>
                  </a:lnTo>
                  <a:lnTo>
                    <a:pt x="3024" y="2911"/>
                  </a:lnTo>
                  <a:lnTo>
                    <a:pt x="3002" y="2944"/>
                  </a:lnTo>
                  <a:lnTo>
                    <a:pt x="2974" y="2976"/>
                  </a:lnTo>
                  <a:lnTo>
                    <a:pt x="2942" y="3003"/>
                  </a:lnTo>
                  <a:lnTo>
                    <a:pt x="2908" y="3025"/>
                  </a:lnTo>
                  <a:lnTo>
                    <a:pt x="2873" y="3045"/>
                  </a:lnTo>
                  <a:lnTo>
                    <a:pt x="2836" y="3058"/>
                  </a:lnTo>
                  <a:lnTo>
                    <a:pt x="2798" y="3067"/>
                  </a:lnTo>
                  <a:lnTo>
                    <a:pt x="2759" y="3072"/>
                  </a:lnTo>
                  <a:lnTo>
                    <a:pt x="2721" y="3072"/>
                  </a:lnTo>
                  <a:lnTo>
                    <a:pt x="2682" y="3067"/>
                  </a:lnTo>
                  <a:lnTo>
                    <a:pt x="2644" y="3058"/>
                  </a:lnTo>
                  <a:lnTo>
                    <a:pt x="2606" y="3045"/>
                  </a:lnTo>
                  <a:lnTo>
                    <a:pt x="2571" y="3025"/>
                  </a:lnTo>
                  <a:lnTo>
                    <a:pt x="2538" y="3003"/>
                  </a:lnTo>
                  <a:lnTo>
                    <a:pt x="2506" y="2976"/>
                  </a:lnTo>
                  <a:lnTo>
                    <a:pt x="2478" y="2943"/>
                  </a:lnTo>
                  <a:lnTo>
                    <a:pt x="2455" y="2909"/>
                  </a:lnTo>
                  <a:lnTo>
                    <a:pt x="2436" y="2872"/>
                  </a:lnTo>
                  <a:lnTo>
                    <a:pt x="2422" y="2834"/>
                  </a:lnTo>
                  <a:lnTo>
                    <a:pt x="2414" y="2794"/>
                  </a:lnTo>
                  <a:lnTo>
                    <a:pt x="2409" y="2754"/>
                  </a:lnTo>
                  <a:lnTo>
                    <a:pt x="2410" y="2714"/>
                  </a:lnTo>
                  <a:lnTo>
                    <a:pt x="2417" y="2674"/>
                  </a:lnTo>
                  <a:lnTo>
                    <a:pt x="2427" y="2634"/>
                  </a:lnTo>
                  <a:lnTo>
                    <a:pt x="2442" y="2597"/>
                  </a:lnTo>
                  <a:lnTo>
                    <a:pt x="2307" y="2460"/>
                  </a:lnTo>
                  <a:lnTo>
                    <a:pt x="2249" y="2502"/>
                  </a:lnTo>
                  <a:lnTo>
                    <a:pt x="2190" y="2539"/>
                  </a:lnTo>
                  <a:lnTo>
                    <a:pt x="2128" y="2571"/>
                  </a:lnTo>
                  <a:lnTo>
                    <a:pt x="2063" y="2598"/>
                  </a:lnTo>
                  <a:lnTo>
                    <a:pt x="1995" y="2621"/>
                  </a:lnTo>
                  <a:lnTo>
                    <a:pt x="1925" y="2639"/>
                  </a:lnTo>
                  <a:lnTo>
                    <a:pt x="1853" y="2650"/>
                  </a:lnTo>
                  <a:lnTo>
                    <a:pt x="1853" y="2844"/>
                  </a:lnTo>
                  <a:lnTo>
                    <a:pt x="1894" y="2862"/>
                  </a:lnTo>
                  <a:lnTo>
                    <a:pt x="1933" y="2886"/>
                  </a:lnTo>
                  <a:lnTo>
                    <a:pt x="1966" y="2913"/>
                  </a:lnTo>
                  <a:lnTo>
                    <a:pt x="1996" y="2945"/>
                  </a:lnTo>
                  <a:lnTo>
                    <a:pt x="2023" y="2981"/>
                  </a:lnTo>
                  <a:lnTo>
                    <a:pt x="2043" y="3020"/>
                  </a:lnTo>
                  <a:lnTo>
                    <a:pt x="2059" y="3063"/>
                  </a:lnTo>
                  <a:lnTo>
                    <a:pt x="2068" y="3107"/>
                  </a:lnTo>
                  <a:lnTo>
                    <a:pt x="2071" y="3155"/>
                  </a:lnTo>
                  <a:lnTo>
                    <a:pt x="2068" y="3199"/>
                  </a:lnTo>
                  <a:lnTo>
                    <a:pt x="2060" y="3243"/>
                  </a:lnTo>
                  <a:lnTo>
                    <a:pt x="2046" y="3283"/>
                  </a:lnTo>
                  <a:lnTo>
                    <a:pt x="2027" y="3321"/>
                  </a:lnTo>
                  <a:lnTo>
                    <a:pt x="2003" y="3356"/>
                  </a:lnTo>
                  <a:lnTo>
                    <a:pt x="1975" y="3388"/>
                  </a:lnTo>
                  <a:lnTo>
                    <a:pt x="1943" y="3417"/>
                  </a:lnTo>
                  <a:lnTo>
                    <a:pt x="1908" y="3440"/>
                  </a:lnTo>
                  <a:lnTo>
                    <a:pt x="1870" y="3459"/>
                  </a:lnTo>
                  <a:lnTo>
                    <a:pt x="1829" y="3473"/>
                  </a:lnTo>
                  <a:lnTo>
                    <a:pt x="1786" y="3482"/>
                  </a:lnTo>
                  <a:lnTo>
                    <a:pt x="1741" y="3485"/>
                  </a:lnTo>
                  <a:lnTo>
                    <a:pt x="1696" y="3482"/>
                  </a:lnTo>
                  <a:lnTo>
                    <a:pt x="1654" y="3473"/>
                  </a:lnTo>
                  <a:lnTo>
                    <a:pt x="1613" y="3459"/>
                  </a:lnTo>
                  <a:lnTo>
                    <a:pt x="1574" y="3440"/>
                  </a:lnTo>
                  <a:lnTo>
                    <a:pt x="1539" y="3417"/>
                  </a:lnTo>
                  <a:lnTo>
                    <a:pt x="1508" y="3388"/>
                  </a:lnTo>
                  <a:lnTo>
                    <a:pt x="1480" y="3356"/>
                  </a:lnTo>
                  <a:lnTo>
                    <a:pt x="1456" y="3321"/>
                  </a:lnTo>
                  <a:lnTo>
                    <a:pt x="1437" y="3283"/>
                  </a:lnTo>
                  <a:lnTo>
                    <a:pt x="1423" y="3243"/>
                  </a:lnTo>
                  <a:lnTo>
                    <a:pt x="1414" y="3199"/>
                  </a:lnTo>
                  <a:lnTo>
                    <a:pt x="1411" y="3155"/>
                  </a:lnTo>
                  <a:lnTo>
                    <a:pt x="1413" y="3112"/>
                  </a:lnTo>
                  <a:lnTo>
                    <a:pt x="1422" y="3071"/>
                  </a:lnTo>
                  <a:lnTo>
                    <a:pt x="1435" y="3032"/>
                  </a:lnTo>
                  <a:lnTo>
                    <a:pt x="1453" y="2996"/>
                  </a:lnTo>
                  <a:lnTo>
                    <a:pt x="1474" y="2962"/>
                  </a:lnTo>
                  <a:lnTo>
                    <a:pt x="1499" y="2930"/>
                  </a:lnTo>
                  <a:lnTo>
                    <a:pt x="1529" y="2902"/>
                  </a:lnTo>
                  <a:lnTo>
                    <a:pt x="1561" y="2878"/>
                  </a:lnTo>
                  <a:lnTo>
                    <a:pt x="1596" y="2858"/>
                  </a:lnTo>
                  <a:lnTo>
                    <a:pt x="1634" y="2842"/>
                  </a:lnTo>
                  <a:lnTo>
                    <a:pt x="1634" y="2650"/>
                  </a:lnTo>
                  <a:lnTo>
                    <a:pt x="1561" y="2639"/>
                  </a:lnTo>
                  <a:lnTo>
                    <a:pt x="1491" y="2622"/>
                  </a:lnTo>
                  <a:lnTo>
                    <a:pt x="1423" y="2599"/>
                  </a:lnTo>
                  <a:lnTo>
                    <a:pt x="1357" y="2572"/>
                  </a:lnTo>
                  <a:lnTo>
                    <a:pt x="1294" y="2539"/>
                  </a:lnTo>
                  <a:lnTo>
                    <a:pt x="1234" y="2502"/>
                  </a:lnTo>
                  <a:lnTo>
                    <a:pt x="1177" y="2460"/>
                  </a:lnTo>
                  <a:lnTo>
                    <a:pt x="1040" y="2597"/>
                  </a:lnTo>
                  <a:lnTo>
                    <a:pt x="1056" y="2634"/>
                  </a:lnTo>
                  <a:lnTo>
                    <a:pt x="1067" y="2674"/>
                  </a:lnTo>
                  <a:lnTo>
                    <a:pt x="1072" y="2714"/>
                  </a:lnTo>
                  <a:lnTo>
                    <a:pt x="1073" y="2754"/>
                  </a:lnTo>
                  <a:lnTo>
                    <a:pt x="1069" y="2794"/>
                  </a:lnTo>
                  <a:lnTo>
                    <a:pt x="1061" y="2834"/>
                  </a:lnTo>
                  <a:lnTo>
                    <a:pt x="1047" y="2872"/>
                  </a:lnTo>
                  <a:lnTo>
                    <a:pt x="1029" y="2909"/>
                  </a:lnTo>
                  <a:lnTo>
                    <a:pt x="1005" y="2943"/>
                  </a:lnTo>
                  <a:lnTo>
                    <a:pt x="977" y="2976"/>
                  </a:lnTo>
                  <a:lnTo>
                    <a:pt x="946" y="3003"/>
                  </a:lnTo>
                  <a:lnTo>
                    <a:pt x="912" y="3025"/>
                  </a:lnTo>
                  <a:lnTo>
                    <a:pt x="877" y="3045"/>
                  </a:lnTo>
                  <a:lnTo>
                    <a:pt x="840" y="3058"/>
                  </a:lnTo>
                  <a:lnTo>
                    <a:pt x="802" y="3067"/>
                  </a:lnTo>
                  <a:lnTo>
                    <a:pt x="763" y="3072"/>
                  </a:lnTo>
                  <a:lnTo>
                    <a:pt x="724" y="3072"/>
                  </a:lnTo>
                  <a:lnTo>
                    <a:pt x="685" y="3067"/>
                  </a:lnTo>
                  <a:lnTo>
                    <a:pt x="647" y="3058"/>
                  </a:lnTo>
                  <a:lnTo>
                    <a:pt x="610" y="3045"/>
                  </a:lnTo>
                  <a:lnTo>
                    <a:pt x="574" y="3025"/>
                  </a:lnTo>
                  <a:lnTo>
                    <a:pt x="540" y="3003"/>
                  </a:lnTo>
                  <a:lnTo>
                    <a:pt x="510" y="2976"/>
                  </a:lnTo>
                  <a:lnTo>
                    <a:pt x="482" y="2944"/>
                  </a:lnTo>
                  <a:lnTo>
                    <a:pt x="459" y="2911"/>
                  </a:lnTo>
                  <a:lnTo>
                    <a:pt x="441" y="2875"/>
                  </a:lnTo>
                  <a:lnTo>
                    <a:pt x="427" y="2838"/>
                  </a:lnTo>
                  <a:lnTo>
                    <a:pt x="418" y="2800"/>
                  </a:lnTo>
                  <a:lnTo>
                    <a:pt x="413" y="2761"/>
                  </a:lnTo>
                  <a:lnTo>
                    <a:pt x="413" y="2722"/>
                  </a:lnTo>
                  <a:lnTo>
                    <a:pt x="418" y="2683"/>
                  </a:lnTo>
                  <a:lnTo>
                    <a:pt x="427" y="2645"/>
                  </a:lnTo>
                  <a:lnTo>
                    <a:pt x="441" y="2608"/>
                  </a:lnTo>
                  <a:lnTo>
                    <a:pt x="459" y="2573"/>
                  </a:lnTo>
                  <a:lnTo>
                    <a:pt x="482" y="2539"/>
                  </a:lnTo>
                  <a:lnTo>
                    <a:pt x="510" y="2508"/>
                  </a:lnTo>
                  <a:lnTo>
                    <a:pt x="541" y="2480"/>
                  </a:lnTo>
                  <a:lnTo>
                    <a:pt x="575" y="2456"/>
                  </a:lnTo>
                  <a:lnTo>
                    <a:pt x="611" y="2438"/>
                  </a:lnTo>
                  <a:lnTo>
                    <a:pt x="649" y="2424"/>
                  </a:lnTo>
                  <a:lnTo>
                    <a:pt x="689" y="2416"/>
                  </a:lnTo>
                  <a:lnTo>
                    <a:pt x="728" y="2412"/>
                  </a:lnTo>
                  <a:lnTo>
                    <a:pt x="768" y="2412"/>
                  </a:lnTo>
                  <a:lnTo>
                    <a:pt x="807" y="2418"/>
                  </a:lnTo>
                  <a:lnTo>
                    <a:pt x="845" y="2428"/>
                  </a:lnTo>
                  <a:lnTo>
                    <a:pt x="884" y="2442"/>
                  </a:lnTo>
                  <a:lnTo>
                    <a:pt x="1021" y="2305"/>
                  </a:lnTo>
                  <a:lnTo>
                    <a:pt x="980" y="2248"/>
                  </a:lnTo>
                  <a:lnTo>
                    <a:pt x="944" y="2188"/>
                  </a:lnTo>
                  <a:lnTo>
                    <a:pt x="912" y="2125"/>
                  </a:lnTo>
                  <a:lnTo>
                    <a:pt x="885" y="2061"/>
                  </a:lnTo>
                  <a:lnTo>
                    <a:pt x="862" y="1993"/>
                  </a:lnTo>
                  <a:lnTo>
                    <a:pt x="845" y="1923"/>
                  </a:lnTo>
                  <a:lnTo>
                    <a:pt x="834" y="1851"/>
                  </a:lnTo>
                  <a:lnTo>
                    <a:pt x="642" y="1851"/>
                  </a:lnTo>
                  <a:lnTo>
                    <a:pt x="627" y="1889"/>
                  </a:lnTo>
                  <a:lnTo>
                    <a:pt x="607" y="1924"/>
                  </a:lnTo>
                  <a:lnTo>
                    <a:pt x="583" y="1956"/>
                  </a:lnTo>
                  <a:lnTo>
                    <a:pt x="555" y="1986"/>
                  </a:lnTo>
                  <a:lnTo>
                    <a:pt x="524" y="2011"/>
                  </a:lnTo>
                  <a:lnTo>
                    <a:pt x="491" y="2032"/>
                  </a:lnTo>
                  <a:lnTo>
                    <a:pt x="453" y="2050"/>
                  </a:lnTo>
                  <a:lnTo>
                    <a:pt x="414" y="2063"/>
                  </a:lnTo>
                  <a:lnTo>
                    <a:pt x="373" y="2071"/>
                  </a:lnTo>
                  <a:lnTo>
                    <a:pt x="331" y="2074"/>
                  </a:lnTo>
                  <a:lnTo>
                    <a:pt x="286" y="2070"/>
                  </a:lnTo>
                  <a:lnTo>
                    <a:pt x="243" y="2062"/>
                  </a:lnTo>
                  <a:lnTo>
                    <a:pt x="202" y="2048"/>
                  </a:lnTo>
                  <a:lnTo>
                    <a:pt x="164" y="2029"/>
                  </a:lnTo>
                  <a:lnTo>
                    <a:pt x="128" y="2005"/>
                  </a:lnTo>
                  <a:lnTo>
                    <a:pt x="96" y="1977"/>
                  </a:lnTo>
                  <a:lnTo>
                    <a:pt x="69" y="1945"/>
                  </a:lnTo>
                  <a:lnTo>
                    <a:pt x="46" y="1910"/>
                  </a:lnTo>
                  <a:lnTo>
                    <a:pt x="26" y="1872"/>
                  </a:lnTo>
                  <a:lnTo>
                    <a:pt x="12" y="1831"/>
                  </a:lnTo>
                  <a:lnTo>
                    <a:pt x="3" y="1788"/>
                  </a:lnTo>
                  <a:lnTo>
                    <a:pt x="0" y="1743"/>
                  </a:lnTo>
                  <a:lnTo>
                    <a:pt x="3" y="1698"/>
                  </a:lnTo>
                  <a:lnTo>
                    <a:pt x="12" y="1655"/>
                  </a:lnTo>
                  <a:lnTo>
                    <a:pt x="26" y="1615"/>
                  </a:lnTo>
                  <a:lnTo>
                    <a:pt x="46" y="1576"/>
                  </a:lnTo>
                  <a:lnTo>
                    <a:pt x="69" y="1541"/>
                  </a:lnTo>
                  <a:lnTo>
                    <a:pt x="96" y="1510"/>
                  </a:lnTo>
                  <a:lnTo>
                    <a:pt x="128" y="1481"/>
                  </a:lnTo>
                  <a:lnTo>
                    <a:pt x="164" y="1458"/>
                  </a:lnTo>
                  <a:lnTo>
                    <a:pt x="202" y="1439"/>
                  </a:lnTo>
                  <a:lnTo>
                    <a:pt x="243" y="1424"/>
                  </a:lnTo>
                  <a:lnTo>
                    <a:pt x="286" y="1415"/>
                  </a:lnTo>
                  <a:lnTo>
                    <a:pt x="331" y="1412"/>
                  </a:lnTo>
                  <a:lnTo>
                    <a:pt x="377" y="1415"/>
                  </a:lnTo>
                  <a:lnTo>
                    <a:pt x="422" y="1425"/>
                  </a:lnTo>
                  <a:lnTo>
                    <a:pt x="464" y="1440"/>
                  </a:lnTo>
                  <a:lnTo>
                    <a:pt x="503" y="1461"/>
                  </a:lnTo>
                  <a:lnTo>
                    <a:pt x="539" y="1486"/>
                  </a:lnTo>
                  <a:lnTo>
                    <a:pt x="572" y="1517"/>
                  </a:lnTo>
                  <a:lnTo>
                    <a:pt x="600" y="1551"/>
                  </a:lnTo>
                  <a:lnTo>
                    <a:pt x="623" y="1589"/>
                  </a:lnTo>
                  <a:lnTo>
                    <a:pt x="641" y="1630"/>
                  </a:lnTo>
                  <a:lnTo>
                    <a:pt x="835" y="1630"/>
                  </a:lnTo>
                  <a:lnTo>
                    <a:pt x="847" y="1558"/>
                  </a:lnTo>
                  <a:lnTo>
                    <a:pt x="863" y="1488"/>
                  </a:lnTo>
                  <a:lnTo>
                    <a:pt x="887" y="1421"/>
                  </a:lnTo>
                  <a:lnTo>
                    <a:pt x="914" y="1356"/>
                  </a:lnTo>
                  <a:lnTo>
                    <a:pt x="946" y="1293"/>
                  </a:lnTo>
                  <a:lnTo>
                    <a:pt x="983" y="1233"/>
                  </a:lnTo>
                  <a:lnTo>
                    <a:pt x="1025" y="1177"/>
                  </a:lnTo>
                  <a:lnTo>
                    <a:pt x="888" y="1041"/>
                  </a:lnTo>
                  <a:lnTo>
                    <a:pt x="850" y="1056"/>
                  </a:lnTo>
                  <a:lnTo>
                    <a:pt x="811" y="1067"/>
                  </a:lnTo>
                  <a:lnTo>
                    <a:pt x="771" y="1073"/>
                  </a:lnTo>
                  <a:lnTo>
                    <a:pt x="731" y="1074"/>
                  </a:lnTo>
                  <a:lnTo>
                    <a:pt x="691" y="1070"/>
                  </a:lnTo>
                  <a:lnTo>
                    <a:pt x="652" y="1061"/>
                  </a:lnTo>
                  <a:lnTo>
                    <a:pt x="613" y="1047"/>
                  </a:lnTo>
                  <a:lnTo>
                    <a:pt x="576" y="1028"/>
                  </a:lnTo>
                  <a:lnTo>
                    <a:pt x="541" y="1005"/>
                  </a:lnTo>
                  <a:lnTo>
                    <a:pt x="510" y="978"/>
                  </a:lnTo>
                  <a:lnTo>
                    <a:pt x="482" y="946"/>
                  </a:lnTo>
                  <a:lnTo>
                    <a:pt x="459" y="913"/>
                  </a:lnTo>
                  <a:lnTo>
                    <a:pt x="441" y="877"/>
                  </a:lnTo>
                  <a:lnTo>
                    <a:pt x="427" y="840"/>
                  </a:lnTo>
                  <a:lnTo>
                    <a:pt x="418" y="802"/>
                  </a:lnTo>
                  <a:lnTo>
                    <a:pt x="413" y="763"/>
                  </a:lnTo>
                  <a:lnTo>
                    <a:pt x="413" y="724"/>
                  </a:lnTo>
                  <a:lnTo>
                    <a:pt x="418" y="685"/>
                  </a:lnTo>
                  <a:lnTo>
                    <a:pt x="427" y="647"/>
                  </a:lnTo>
                  <a:lnTo>
                    <a:pt x="441" y="610"/>
                  </a:lnTo>
                  <a:lnTo>
                    <a:pt x="459" y="575"/>
                  </a:lnTo>
                  <a:lnTo>
                    <a:pt x="482" y="541"/>
                  </a:lnTo>
                  <a:lnTo>
                    <a:pt x="510" y="510"/>
                  </a:lnTo>
                  <a:lnTo>
                    <a:pt x="540" y="482"/>
                  </a:lnTo>
                  <a:lnTo>
                    <a:pt x="574" y="459"/>
                  </a:lnTo>
                  <a:lnTo>
                    <a:pt x="610" y="441"/>
                  </a:lnTo>
                  <a:lnTo>
                    <a:pt x="647" y="427"/>
                  </a:lnTo>
                  <a:lnTo>
                    <a:pt x="685" y="418"/>
                  </a:lnTo>
                  <a:lnTo>
                    <a:pt x="724" y="414"/>
                  </a:lnTo>
                  <a:lnTo>
                    <a:pt x="763" y="414"/>
                  </a:lnTo>
                  <a:lnTo>
                    <a:pt x="802" y="418"/>
                  </a:lnTo>
                  <a:lnTo>
                    <a:pt x="840" y="427"/>
                  </a:lnTo>
                  <a:lnTo>
                    <a:pt x="877" y="441"/>
                  </a:lnTo>
                  <a:lnTo>
                    <a:pt x="912" y="459"/>
                  </a:lnTo>
                  <a:lnTo>
                    <a:pt x="946" y="482"/>
                  </a:lnTo>
                  <a:lnTo>
                    <a:pt x="977" y="510"/>
                  </a:lnTo>
                  <a:lnTo>
                    <a:pt x="1005" y="541"/>
                  </a:lnTo>
                  <a:lnTo>
                    <a:pt x="1029" y="576"/>
                  </a:lnTo>
                  <a:lnTo>
                    <a:pt x="1047" y="612"/>
                  </a:lnTo>
                  <a:lnTo>
                    <a:pt x="1061" y="649"/>
                  </a:lnTo>
                  <a:lnTo>
                    <a:pt x="1069" y="688"/>
                  </a:lnTo>
                  <a:lnTo>
                    <a:pt x="1073" y="728"/>
                  </a:lnTo>
                  <a:lnTo>
                    <a:pt x="1072" y="768"/>
                  </a:lnTo>
                  <a:lnTo>
                    <a:pt x="1067" y="807"/>
                  </a:lnTo>
                  <a:lnTo>
                    <a:pt x="1057" y="846"/>
                  </a:lnTo>
                  <a:lnTo>
                    <a:pt x="1041" y="883"/>
                  </a:lnTo>
                  <a:lnTo>
                    <a:pt x="1179" y="1021"/>
                  </a:lnTo>
                  <a:lnTo>
                    <a:pt x="1236" y="981"/>
                  </a:lnTo>
                  <a:lnTo>
                    <a:pt x="1296" y="945"/>
                  </a:lnTo>
                  <a:lnTo>
                    <a:pt x="1358" y="912"/>
                  </a:lnTo>
                  <a:lnTo>
                    <a:pt x="1424" y="885"/>
                  </a:lnTo>
                  <a:lnTo>
                    <a:pt x="1492" y="863"/>
                  </a:lnTo>
                  <a:lnTo>
                    <a:pt x="1562" y="846"/>
                  </a:lnTo>
                  <a:lnTo>
                    <a:pt x="1634" y="834"/>
                  </a:lnTo>
                  <a:lnTo>
                    <a:pt x="1634" y="643"/>
                  </a:lnTo>
                  <a:lnTo>
                    <a:pt x="1596" y="627"/>
                  </a:lnTo>
                  <a:lnTo>
                    <a:pt x="1561" y="607"/>
                  </a:lnTo>
                  <a:lnTo>
                    <a:pt x="1529" y="583"/>
                  </a:lnTo>
                  <a:lnTo>
                    <a:pt x="1499" y="556"/>
                  </a:lnTo>
                  <a:lnTo>
                    <a:pt x="1474" y="524"/>
                  </a:lnTo>
                  <a:lnTo>
                    <a:pt x="1453" y="490"/>
                  </a:lnTo>
                  <a:lnTo>
                    <a:pt x="1435" y="453"/>
                  </a:lnTo>
                  <a:lnTo>
                    <a:pt x="1422" y="415"/>
                  </a:lnTo>
                  <a:lnTo>
                    <a:pt x="1413" y="373"/>
                  </a:lnTo>
                  <a:lnTo>
                    <a:pt x="1411" y="331"/>
                  </a:lnTo>
                  <a:lnTo>
                    <a:pt x="1414" y="285"/>
                  </a:lnTo>
                  <a:lnTo>
                    <a:pt x="1423" y="243"/>
                  </a:lnTo>
                  <a:lnTo>
                    <a:pt x="1437" y="202"/>
                  </a:lnTo>
                  <a:lnTo>
                    <a:pt x="1456" y="163"/>
                  </a:lnTo>
                  <a:lnTo>
                    <a:pt x="1480" y="128"/>
                  </a:lnTo>
                  <a:lnTo>
                    <a:pt x="1508" y="97"/>
                  </a:lnTo>
                  <a:lnTo>
                    <a:pt x="1539" y="69"/>
                  </a:lnTo>
                  <a:lnTo>
                    <a:pt x="1574" y="45"/>
                  </a:lnTo>
                  <a:lnTo>
                    <a:pt x="1613" y="26"/>
                  </a:lnTo>
                  <a:lnTo>
                    <a:pt x="1654" y="12"/>
                  </a:lnTo>
                  <a:lnTo>
                    <a:pt x="1696" y="3"/>
                  </a:lnTo>
                  <a:lnTo>
                    <a:pt x="1741" y="0"/>
                  </a:lnTo>
                  <a:close/>
                </a:path>
              </a:pathLst>
            </a:custGeom>
            <a:grp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IN">
                <a:solidFill>
                  <a:srgbClr val="00B0F0"/>
                </a:solidFill>
              </a:endParaRPr>
            </a:p>
          </p:txBody>
        </p:sp>
        <p:sp>
          <p:nvSpPr>
            <p:cNvPr id="8" name="Freeform 70"/>
            <p:cNvSpPr>
              <a:spLocks/>
            </p:cNvSpPr>
            <p:nvPr/>
          </p:nvSpPr>
          <p:spPr bwMode="auto">
            <a:xfrm>
              <a:off x="8915400" y="4846638"/>
              <a:ext cx="85725" cy="114300"/>
            </a:xfrm>
            <a:custGeom>
              <a:avLst/>
              <a:gdLst>
                <a:gd name="T0" fmla="*/ 337 w 597"/>
                <a:gd name="T1" fmla="*/ 2 h 793"/>
                <a:gd name="T2" fmla="*/ 386 w 597"/>
                <a:gd name="T3" fmla="*/ 13 h 793"/>
                <a:gd name="T4" fmla="*/ 424 w 597"/>
                <a:gd name="T5" fmla="*/ 31 h 793"/>
                <a:gd name="T6" fmla="*/ 460 w 597"/>
                <a:gd name="T7" fmla="*/ 56 h 793"/>
                <a:gd name="T8" fmla="*/ 482 w 597"/>
                <a:gd name="T9" fmla="*/ 79 h 793"/>
                <a:gd name="T10" fmla="*/ 493 w 597"/>
                <a:gd name="T11" fmla="*/ 94 h 793"/>
                <a:gd name="T12" fmla="*/ 495 w 597"/>
                <a:gd name="T13" fmla="*/ 96 h 793"/>
                <a:gd name="T14" fmla="*/ 503 w 597"/>
                <a:gd name="T15" fmla="*/ 98 h 793"/>
                <a:gd name="T16" fmla="*/ 517 w 597"/>
                <a:gd name="T17" fmla="*/ 104 h 793"/>
                <a:gd name="T18" fmla="*/ 534 w 597"/>
                <a:gd name="T19" fmla="*/ 116 h 793"/>
                <a:gd name="T20" fmla="*/ 551 w 597"/>
                <a:gd name="T21" fmla="*/ 135 h 793"/>
                <a:gd name="T22" fmla="*/ 566 w 597"/>
                <a:gd name="T23" fmla="*/ 166 h 793"/>
                <a:gd name="T24" fmla="*/ 576 w 597"/>
                <a:gd name="T25" fmla="*/ 210 h 793"/>
                <a:gd name="T26" fmla="*/ 579 w 597"/>
                <a:gd name="T27" fmla="*/ 267 h 793"/>
                <a:gd name="T28" fmla="*/ 571 w 597"/>
                <a:gd name="T29" fmla="*/ 341 h 793"/>
                <a:gd name="T30" fmla="*/ 561 w 597"/>
                <a:gd name="T31" fmla="*/ 379 h 793"/>
                <a:gd name="T32" fmla="*/ 575 w 597"/>
                <a:gd name="T33" fmla="*/ 380 h 793"/>
                <a:gd name="T34" fmla="*/ 587 w 597"/>
                <a:gd name="T35" fmla="*/ 388 h 793"/>
                <a:gd name="T36" fmla="*/ 596 w 597"/>
                <a:gd name="T37" fmla="*/ 405 h 793"/>
                <a:gd name="T38" fmla="*/ 596 w 597"/>
                <a:gd name="T39" fmla="*/ 435 h 793"/>
                <a:gd name="T40" fmla="*/ 587 w 597"/>
                <a:gd name="T41" fmla="*/ 480 h 793"/>
                <a:gd name="T42" fmla="*/ 568 w 597"/>
                <a:gd name="T43" fmla="*/ 532 h 793"/>
                <a:gd name="T44" fmla="*/ 551 w 597"/>
                <a:gd name="T45" fmla="*/ 558 h 793"/>
                <a:gd name="T46" fmla="*/ 536 w 597"/>
                <a:gd name="T47" fmla="*/ 567 h 793"/>
                <a:gd name="T48" fmla="*/ 521 w 597"/>
                <a:gd name="T49" fmla="*/ 622 h 793"/>
                <a:gd name="T50" fmla="*/ 492 w 597"/>
                <a:gd name="T51" fmla="*/ 677 h 793"/>
                <a:gd name="T52" fmla="*/ 449 w 597"/>
                <a:gd name="T53" fmla="*/ 728 h 793"/>
                <a:gd name="T54" fmla="*/ 394 w 597"/>
                <a:gd name="T55" fmla="*/ 768 h 793"/>
                <a:gd name="T56" fmla="*/ 331 w 597"/>
                <a:gd name="T57" fmla="*/ 790 h 793"/>
                <a:gd name="T58" fmla="*/ 266 w 597"/>
                <a:gd name="T59" fmla="*/ 790 h 793"/>
                <a:gd name="T60" fmla="*/ 202 w 597"/>
                <a:gd name="T61" fmla="*/ 768 h 793"/>
                <a:gd name="T62" fmla="*/ 147 w 597"/>
                <a:gd name="T63" fmla="*/ 728 h 793"/>
                <a:gd name="T64" fmla="*/ 105 w 597"/>
                <a:gd name="T65" fmla="*/ 677 h 793"/>
                <a:gd name="T66" fmla="*/ 76 w 597"/>
                <a:gd name="T67" fmla="*/ 622 h 793"/>
                <a:gd name="T68" fmla="*/ 60 w 597"/>
                <a:gd name="T69" fmla="*/ 567 h 793"/>
                <a:gd name="T70" fmla="*/ 46 w 597"/>
                <a:gd name="T71" fmla="*/ 558 h 793"/>
                <a:gd name="T72" fmla="*/ 29 w 597"/>
                <a:gd name="T73" fmla="*/ 532 h 793"/>
                <a:gd name="T74" fmla="*/ 11 w 597"/>
                <a:gd name="T75" fmla="*/ 480 h 793"/>
                <a:gd name="T76" fmla="*/ 1 w 597"/>
                <a:gd name="T77" fmla="*/ 434 h 793"/>
                <a:gd name="T78" fmla="*/ 1 w 597"/>
                <a:gd name="T79" fmla="*/ 404 h 793"/>
                <a:gd name="T80" fmla="*/ 10 w 597"/>
                <a:gd name="T81" fmla="*/ 387 h 793"/>
                <a:gd name="T82" fmla="*/ 21 w 597"/>
                <a:gd name="T83" fmla="*/ 378 h 793"/>
                <a:gd name="T84" fmla="*/ 36 w 597"/>
                <a:gd name="T85" fmla="*/ 377 h 793"/>
                <a:gd name="T86" fmla="*/ 25 w 597"/>
                <a:gd name="T87" fmla="*/ 340 h 793"/>
                <a:gd name="T88" fmla="*/ 18 w 597"/>
                <a:gd name="T89" fmla="*/ 278 h 793"/>
                <a:gd name="T90" fmla="*/ 25 w 597"/>
                <a:gd name="T91" fmla="*/ 220 h 793"/>
                <a:gd name="T92" fmla="*/ 46 w 597"/>
                <a:gd name="T93" fmla="*/ 164 h 793"/>
                <a:gd name="T94" fmla="*/ 77 w 597"/>
                <a:gd name="T95" fmla="*/ 116 h 793"/>
                <a:gd name="T96" fmla="*/ 116 w 597"/>
                <a:gd name="T97" fmla="*/ 77 h 793"/>
                <a:gd name="T98" fmla="*/ 160 w 597"/>
                <a:gd name="T99" fmla="*/ 43 h 793"/>
                <a:gd name="T100" fmla="*/ 223 w 597"/>
                <a:gd name="T101" fmla="*/ 11 h 793"/>
                <a:gd name="T102" fmla="*/ 280 w 597"/>
                <a:gd name="T103" fmla="*/ 1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7" h="793">
                  <a:moveTo>
                    <a:pt x="309" y="0"/>
                  </a:moveTo>
                  <a:lnTo>
                    <a:pt x="337" y="2"/>
                  </a:lnTo>
                  <a:lnTo>
                    <a:pt x="362" y="6"/>
                  </a:lnTo>
                  <a:lnTo>
                    <a:pt x="386" y="13"/>
                  </a:lnTo>
                  <a:lnTo>
                    <a:pt x="406" y="22"/>
                  </a:lnTo>
                  <a:lnTo>
                    <a:pt x="424" y="31"/>
                  </a:lnTo>
                  <a:lnTo>
                    <a:pt x="444" y="43"/>
                  </a:lnTo>
                  <a:lnTo>
                    <a:pt x="460" y="56"/>
                  </a:lnTo>
                  <a:lnTo>
                    <a:pt x="473" y="69"/>
                  </a:lnTo>
                  <a:lnTo>
                    <a:pt x="482" y="79"/>
                  </a:lnTo>
                  <a:lnTo>
                    <a:pt x="489" y="88"/>
                  </a:lnTo>
                  <a:lnTo>
                    <a:pt x="493" y="94"/>
                  </a:lnTo>
                  <a:lnTo>
                    <a:pt x="494" y="96"/>
                  </a:lnTo>
                  <a:lnTo>
                    <a:pt x="495" y="96"/>
                  </a:lnTo>
                  <a:lnTo>
                    <a:pt x="498" y="97"/>
                  </a:lnTo>
                  <a:lnTo>
                    <a:pt x="503" y="98"/>
                  </a:lnTo>
                  <a:lnTo>
                    <a:pt x="510" y="100"/>
                  </a:lnTo>
                  <a:lnTo>
                    <a:pt x="517" y="104"/>
                  </a:lnTo>
                  <a:lnTo>
                    <a:pt x="526" y="109"/>
                  </a:lnTo>
                  <a:lnTo>
                    <a:pt x="534" y="116"/>
                  </a:lnTo>
                  <a:lnTo>
                    <a:pt x="543" y="125"/>
                  </a:lnTo>
                  <a:lnTo>
                    <a:pt x="551" y="135"/>
                  </a:lnTo>
                  <a:lnTo>
                    <a:pt x="560" y="149"/>
                  </a:lnTo>
                  <a:lnTo>
                    <a:pt x="566" y="166"/>
                  </a:lnTo>
                  <a:lnTo>
                    <a:pt x="572" y="186"/>
                  </a:lnTo>
                  <a:lnTo>
                    <a:pt x="576" y="210"/>
                  </a:lnTo>
                  <a:lnTo>
                    <a:pt x="579" y="236"/>
                  </a:lnTo>
                  <a:lnTo>
                    <a:pt x="579" y="267"/>
                  </a:lnTo>
                  <a:lnTo>
                    <a:pt x="576" y="302"/>
                  </a:lnTo>
                  <a:lnTo>
                    <a:pt x="571" y="341"/>
                  </a:lnTo>
                  <a:lnTo>
                    <a:pt x="567" y="360"/>
                  </a:lnTo>
                  <a:lnTo>
                    <a:pt x="561" y="379"/>
                  </a:lnTo>
                  <a:lnTo>
                    <a:pt x="568" y="379"/>
                  </a:lnTo>
                  <a:lnTo>
                    <a:pt x="575" y="380"/>
                  </a:lnTo>
                  <a:lnTo>
                    <a:pt x="582" y="382"/>
                  </a:lnTo>
                  <a:lnTo>
                    <a:pt x="587" y="388"/>
                  </a:lnTo>
                  <a:lnTo>
                    <a:pt x="592" y="395"/>
                  </a:lnTo>
                  <a:lnTo>
                    <a:pt x="596" y="405"/>
                  </a:lnTo>
                  <a:lnTo>
                    <a:pt x="597" y="418"/>
                  </a:lnTo>
                  <a:lnTo>
                    <a:pt x="596" y="435"/>
                  </a:lnTo>
                  <a:lnTo>
                    <a:pt x="592" y="455"/>
                  </a:lnTo>
                  <a:lnTo>
                    <a:pt x="587" y="480"/>
                  </a:lnTo>
                  <a:lnTo>
                    <a:pt x="578" y="510"/>
                  </a:lnTo>
                  <a:lnTo>
                    <a:pt x="568" y="532"/>
                  </a:lnTo>
                  <a:lnTo>
                    <a:pt x="560" y="548"/>
                  </a:lnTo>
                  <a:lnTo>
                    <a:pt x="551" y="558"/>
                  </a:lnTo>
                  <a:lnTo>
                    <a:pt x="544" y="565"/>
                  </a:lnTo>
                  <a:lnTo>
                    <a:pt x="536" y="567"/>
                  </a:lnTo>
                  <a:lnTo>
                    <a:pt x="531" y="593"/>
                  </a:lnTo>
                  <a:lnTo>
                    <a:pt x="521" y="622"/>
                  </a:lnTo>
                  <a:lnTo>
                    <a:pt x="509" y="649"/>
                  </a:lnTo>
                  <a:lnTo>
                    <a:pt x="492" y="677"/>
                  </a:lnTo>
                  <a:lnTo>
                    <a:pt x="472" y="704"/>
                  </a:lnTo>
                  <a:lnTo>
                    <a:pt x="449" y="728"/>
                  </a:lnTo>
                  <a:lnTo>
                    <a:pt x="423" y="750"/>
                  </a:lnTo>
                  <a:lnTo>
                    <a:pt x="394" y="768"/>
                  </a:lnTo>
                  <a:lnTo>
                    <a:pt x="362" y="782"/>
                  </a:lnTo>
                  <a:lnTo>
                    <a:pt x="331" y="790"/>
                  </a:lnTo>
                  <a:lnTo>
                    <a:pt x="299" y="793"/>
                  </a:lnTo>
                  <a:lnTo>
                    <a:pt x="266" y="790"/>
                  </a:lnTo>
                  <a:lnTo>
                    <a:pt x="235" y="782"/>
                  </a:lnTo>
                  <a:lnTo>
                    <a:pt x="202" y="768"/>
                  </a:lnTo>
                  <a:lnTo>
                    <a:pt x="174" y="750"/>
                  </a:lnTo>
                  <a:lnTo>
                    <a:pt x="147" y="728"/>
                  </a:lnTo>
                  <a:lnTo>
                    <a:pt x="125" y="704"/>
                  </a:lnTo>
                  <a:lnTo>
                    <a:pt x="105" y="677"/>
                  </a:lnTo>
                  <a:lnTo>
                    <a:pt x="89" y="649"/>
                  </a:lnTo>
                  <a:lnTo>
                    <a:pt x="76" y="622"/>
                  </a:lnTo>
                  <a:lnTo>
                    <a:pt x="67" y="593"/>
                  </a:lnTo>
                  <a:lnTo>
                    <a:pt x="60" y="567"/>
                  </a:lnTo>
                  <a:lnTo>
                    <a:pt x="53" y="565"/>
                  </a:lnTo>
                  <a:lnTo>
                    <a:pt x="46" y="558"/>
                  </a:lnTo>
                  <a:lnTo>
                    <a:pt x="37" y="548"/>
                  </a:lnTo>
                  <a:lnTo>
                    <a:pt x="29" y="532"/>
                  </a:lnTo>
                  <a:lnTo>
                    <a:pt x="20" y="510"/>
                  </a:lnTo>
                  <a:lnTo>
                    <a:pt x="11" y="480"/>
                  </a:lnTo>
                  <a:lnTo>
                    <a:pt x="4" y="455"/>
                  </a:lnTo>
                  <a:lnTo>
                    <a:pt x="1" y="434"/>
                  </a:lnTo>
                  <a:lnTo>
                    <a:pt x="0" y="417"/>
                  </a:lnTo>
                  <a:lnTo>
                    <a:pt x="1" y="404"/>
                  </a:lnTo>
                  <a:lnTo>
                    <a:pt x="4" y="394"/>
                  </a:lnTo>
                  <a:lnTo>
                    <a:pt x="10" y="387"/>
                  </a:lnTo>
                  <a:lnTo>
                    <a:pt x="15" y="381"/>
                  </a:lnTo>
                  <a:lnTo>
                    <a:pt x="21" y="378"/>
                  </a:lnTo>
                  <a:lnTo>
                    <a:pt x="29" y="377"/>
                  </a:lnTo>
                  <a:lnTo>
                    <a:pt x="36" y="377"/>
                  </a:lnTo>
                  <a:lnTo>
                    <a:pt x="30" y="358"/>
                  </a:lnTo>
                  <a:lnTo>
                    <a:pt x="25" y="340"/>
                  </a:lnTo>
                  <a:lnTo>
                    <a:pt x="20" y="308"/>
                  </a:lnTo>
                  <a:lnTo>
                    <a:pt x="18" y="278"/>
                  </a:lnTo>
                  <a:lnTo>
                    <a:pt x="20" y="249"/>
                  </a:lnTo>
                  <a:lnTo>
                    <a:pt x="25" y="220"/>
                  </a:lnTo>
                  <a:lnTo>
                    <a:pt x="34" y="190"/>
                  </a:lnTo>
                  <a:lnTo>
                    <a:pt x="46" y="164"/>
                  </a:lnTo>
                  <a:lnTo>
                    <a:pt x="60" y="139"/>
                  </a:lnTo>
                  <a:lnTo>
                    <a:pt x="77" y="116"/>
                  </a:lnTo>
                  <a:lnTo>
                    <a:pt x="95" y="97"/>
                  </a:lnTo>
                  <a:lnTo>
                    <a:pt x="116" y="77"/>
                  </a:lnTo>
                  <a:lnTo>
                    <a:pt x="137" y="59"/>
                  </a:lnTo>
                  <a:lnTo>
                    <a:pt x="160" y="43"/>
                  </a:lnTo>
                  <a:lnTo>
                    <a:pt x="190" y="25"/>
                  </a:lnTo>
                  <a:lnTo>
                    <a:pt x="223" y="11"/>
                  </a:lnTo>
                  <a:lnTo>
                    <a:pt x="250" y="4"/>
                  </a:lnTo>
                  <a:lnTo>
                    <a:pt x="280" y="1"/>
                  </a:lnTo>
                  <a:lnTo>
                    <a:pt x="309" y="0"/>
                  </a:lnTo>
                  <a:close/>
                </a:path>
              </a:pathLst>
            </a:custGeom>
            <a:grp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IN">
                <a:solidFill>
                  <a:srgbClr val="00B0F0"/>
                </a:solidFill>
              </a:endParaRPr>
            </a:p>
          </p:txBody>
        </p:sp>
      </p:grpSp>
      <p:pic>
        <p:nvPicPr>
          <p:cNvPr id="11" name="Picture 10"/>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17988" y="3344327"/>
            <a:ext cx="585852" cy="398294"/>
          </a:xfrm>
          <a:prstGeom prst="rect">
            <a:avLst/>
          </a:prstGeom>
        </p:spPr>
      </p:pic>
      <p:pic>
        <p:nvPicPr>
          <p:cNvPr id="1028" name="Picture 4" descr="Resultado de imagen de LINE DRAWING SCIENCES AND ENGINEERING"/>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9615" y="2269199"/>
            <a:ext cx="602599" cy="64425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418973" y="4791075"/>
            <a:ext cx="583882" cy="600528"/>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pic>
        <p:nvPicPr>
          <p:cNvPr id="10" name="Picture 9"/>
          <p:cNvPicPr>
            <a:picLocks noChangeAspect="1"/>
          </p:cNvPicPr>
          <p:nvPr/>
        </p:nvPicPr>
        <p:blipFill>
          <a:blip r:embed="rId5">
            <a:duotone>
              <a:schemeClr val="accent1">
                <a:shade val="45000"/>
                <a:satMod val="135000"/>
              </a:schemeClr>
              <a:prstClr val="white"/>
            </a:duotone>
          </a:blip>
          <a:stretch>
            <a:fillRect/>
          </a:stretch>
        </p:blipFill>
        <p:spPr>
          <a:xfrm>
            <a:off x="486383" y="4874419"/>
            <a:ext cx="449063" cy="433840"/>
          </a:xfrm>
          <a:prstGeom prst="rect">
            <a:avLst/>
          </a:prstGeom>
          <a:solidFill>
            <a:srgbClr val="FF0000"/>
          </a:solidFill>
        </p:spPr>
      </p:pic>
      <p:sp>
        <p:nvSpPr>
          <p:cNvPr id="9" name="Rectangle 8"/>
          <p:cNvSpPr/>
          <p:nvPr/>
        </p:nvSpPr>
        <p:spPr>
          <a:xfrm>
            <a:off x="7982457" y="6886545"/>
            <a:ext cx="1720343" cy="230832"/>
          </a:xfrm>
          <a:prstGeom prst="rect">
            <a:avLst/>
          </a:prstGeom>
        </p:spPr>
        <p:txBody>
          <a:bodyPr wrap="none">
            <a:spAutoFit/>
          </a:bodyPr>
          <a:lstStyle/>
          <a:p>
            <a:r>
              <a:rPr lang="es-ES_tradnl" sz="900" dirty="0"/>
              <a:t>* Fuente Fundación </a:t>
            </a:r>
            <a:r>
              <a:rPr lang="es-ES_tradnl" sz="900" dirty="0" err="1"/>
              <a:t>Everis</a:t>
            </a:r>
            <a:endParaRPr lang="es-ES_tradnl" sz="900" dirty="0"/>
          </a:p>
        </p:txBody>
      </p:sp>
    </p:spTree>
    <p:extLst>
      <p:ext uri="{BB962C8B-B14F-4D97-AF65-F5344CB8AC3E}">
        <p14:creationId xmlns:p14="http://schemas.microsoft.com/office/powerpoint/2010/main" val="11277640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397416" y="462867"/>
            <a:ext cx="8037834" cy="546100"/>
          </a:xfrm>
        </p:spPr>
        <p:txBody>
          <a:bodyPr>
            <a:noAutofit/>
          </a:bodyPr>
          <a:lstStyle/>
          <a:p>
            <a:r>
              <a:rPr lang="es-ES_tradnl" sz="1800" b="0" dirty="0" smtClean="0">
                <a:latin typeface="+mj-lt"/>
              </a:rPr>
              <a:t>Factores para la contratación </a:t>
            </a:r>
            <a:r>
              <a:rPr lang="es-ES_tradnl" sz="1800" b="0" dirty="0">
                <a:latin typeface="+mj-lt"/>
              </a:rPr>
              <a:t>de graduados </a:t>
            </a:r>
            <a:r>
              <a:rPr lang="es-ES_tradnl" sz="1800" b="0" dirty="0" smtClean="0">
                <a:latin typeface="+mj-lt"/>
              </a:rPr>
              <a:t>en </a:t>
            </a:r>
            <a:r>
              <a:rPr lang="es-ES_tradnl" sz="1800" b="0" dirty="0">
                <a:latin typeface="+mj-lt"/>
              </a:rPr>
              <a:t>la empresa </a:t>
            </a:r>
            <a:r>
              <a:rPr lang="es-ES_tradnl" sz="1800" b="0" dirty="0" smtClean="0">
                <a:latin typeface="+mj-lt"/>
              </a:rPr>
              <a:t>privada</a:t>
            </a:r>
            <a:endParaRPr lang="en-US" sz="1600" b="0" dirty="0">
              <a:latin typeface="+mj-lt"/>
            </a:endParaRPr>
          </a:p>
        </p:txBody>
      </p:sp>
      <p:sp>
        <p:nvSpPr>
          <p:cNvPr id="48" name="TextBox 47"/>
          <p:cNvSpPr txBox="1"/>
          <p:nvPr/>
        </p:nvSpPr>
        <p:spPr>
          <a:xfrm>
            <a:off x="8006136" y="3421301"/>
            <a:ext cx="1636083" cy="492443"/>
          </a:xfrm>
          <a:prstGeom prst="rect">
            <a:avLst/>
          </a:prstGeom>
        </p:spPr>
        <p:txBody>
          <a:bodyPr wrap="square" lIns="0" tIns="0" rIns="0" bIns="0" rtlCol="0">
            <a:spAutoFit/>
          </a:bodyPr>
          <a:lstStyle/>
          <a:p>
            <a:pPr algn="r" defTabSz="501640">
              <a:defRPr/>
            </a:pPr>
            <a:r>
              <a:rPr lang="en-US" sz="1600" b="1" kern="0" dirty="0">
                <a:solidFill>
                  <a:srgbClr val="AE6D66"/>
                </a:solidFill>
                <a:latin typeface="+mj-lt"/>
              </a:rPr>
              <a:t>INDIVIDUO Y </a:t>
            </a:r>
            <a:r>
              <a:rPr lang="en-US" sz="1600" b="1" kern="0" dirty="0" smtClean="0">
                <a:solidFill>
                  <a:srgbClr val="AE6D66"/>
                </a:solidFill>
                <a:latin typeface="+mj-lt"/>
              </a:rPr>
              <a:t>EDUCACIÓN</a:t>
            </a:r>
            <a:endParaRPr lang="en-US" sz="1600" b="1" kern="0" dirty="0">
              <a:solidFill>
                <a:srgbClr val="AE6D66"/>
              </a:solidFill>
              <a:latin typeface="+mj-lt"/>
            </a:endParaRPr>
          </a:p>
        </p:txBody>
      </p:sp>
      <p:sp>
        <p:nvSpPr>
          <p:cNvPr id="49" name="TextBox 48"/>
          <p:cNvSpPr txBox="1"/>
          <p:nvPr/>
        </p:nvSpPr>
        <p:spPr>
          <a:xfrm>
            <a:off x="485071" y="3390460"/>
            <a:ext cx="1420937" cy="492443"/>
          </a:xfrm>
          <a:prstGeom prst="rect">
            <a:avLst/>
          </a:prstGeom>
        </p:spPr>
        <p:txBody>
          <a:bodyPr wrap="square" lIns="0" tIns="0" rIns="0" bIns="0" rtlCol="0">
            <a:spAutoFit/>
          </a:bodyPr>
          <a:lstStyle/>
          <a:p>
            <a:pPr defTabSz="501640">
              <a:buClr>
                <a:srgbClr val="CE984D"/>
              </a:buClr>
              <a:defRPr/>
            </a:pPr>
            <a:r>
              <a:rPr lang="en-GB" sz="1600" b="1" kern="0" dirty="0">
                <a:solidFill>
                  <a:srgbClr val="8C99AC"/>
                </a:solidFill>
                <a:latin typeface="+mj-lt"/>
              </a:rPr>
              <a:t>FACTORES EXTERNOS</a:t>
            </a:r>
            <a:endParaRPr lang="en-US" sz="1600" b="1" kern="0" dirty="0">
              <a:solidFill>
                <a:srgbClr val="8C99AC"/>
              </a:solidFill>
              <a:latin typeface="+mj-lt"/>
            </a:endParaRPr>
          </a:p>
        </p:txBody>
      </p:sp>
      <p:sp>
        <p:nvSpPr>
          <p:cNvPr id="66" name="Freeform 43"/>
          <p:cNvSpPr>
            <a:spLocks noEditPoints="1"/>
          </p:cNvSpPr>
          <p:nvPr/>
        </p:nvSpPr>
        <p:spPr bwMode="auto">
          <a:xfrm>
            <a:off x="4998465" y="1240180"/>
            <a:ext cx="1715713" cy="1882930"/>
          </a:xfrm>
          <a:custGeom>
            <a:avLst/>
            <a:gdLst>
              <a:gd name="T0" fmla="*/ 370 w 957"/>
              <a:gd name="T1" fmla="*/ 885 h 1050"/>
              <a:gd name="T2" fmla="*/ 869 w 957"/>
              <a:gd name="T3" fmla="*/ 634 h 1050"/>
              <a:gd name="T4" fmla="*/ 629 w 957"/>
              <a:gd name="T5" fmla="*/ 81 h 1050"/>
              <a:gd name="T6" fmla="*/ 90 w 957"/>
              <a:gd name="T7" fmla="*/ 304 h 1050"/>
              <a:gd name="T8" fmla="*/ 269 w 957"/>
              <a:gd name="T9" fmla="*/ 844 h 1050"/>
              <a:gd name="T10" fmla="*/ 282 w 957"/>
              <a:gd name="T11" fmla="*/ 883 h 1050"/>
              <a:gd name="T12" fmla="*/ 282 w 957"/>
              <a:gd name="T13" fmla="*/ 883 h 1050"/>
              <a:gd name="T14" fmla="*/ 260 w 957"/>
              <a:gd name="T15" fmla="*/ 902 h 1050"/>
              <a:gd name="T16" fmla="*/ 210 w 957"/>
              <a:gd name="T17" fmla="*/ 952 h 1050"/>
              <a:gd name="T18" fmla="*/ 244 w 957"/>
              <a:gd name="T19" fmla="*/ 1030 h 1050"/>
              <a:gd name="T20" fmla="*/ 341 w 957"/>
              <a:gd name="T21" fmla="*/ 995 h 1050"/>
              <a:gd name="T22" fmla="*/ 336 w 957"/>
              <a:gd name="T23" fmla="*/ 932 h 1050"/>
              <a:gd name="T24" fmla="*/ 333 w 957"/>
              <a:gd name="T25" fmla="*/ 905 h 1050"/>
              <a:gd name="T26" fmla="*/ 334 w 957"/>
              <a:gd name="T27" fmla="*/ 903 h 1050"/>
              <a:gd name="T28" fmla="*/ 370 w 957"/>
              <a:gd name="T29" fmla="*/ 885 h 1050"/>
              <a:gd name="T30" fmla="*/ 312 w 957"/>
              <a:gd name="T31" fmla="*/ 983 h 1050"/>
              <a:gd name="T32" fmla="*/ 263 w 957"/>
              <a:gd name="T33" fmla="*/ 1004 h 1050"/>
              <a:gd name="T34" fmla="*/ 242 w 957"/>
              <a:gd name="T35" fmla="*/ 955 h 1050"/>
              <a:gd name="T36" fmla="*/ 292 w 957"/>
              <a:gd name="T37" fmla="*/ 934 h 1050"/>
              <a:gd name="T38" fmla="*/ 312 w 957"/>
              <a:gd name="T39" fmla="*/ 983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7" h="1050">
                <a:moveTo>
                  <a:pt x="370" y="885"/>
                </a:moveTo>
                <a:cubicBezTo>
                  <a:pt x="572" y="938"/>
                  <a:pt x="788" y="834"/>
                  <a:pt x="869" y="634"/>
                </a:cubicBezTo>
                <a:cubicBezTo>
                  <a:pt x="957" y="416"/>
                  <a:pt x="850" y="167"/>
                  <a:pt x="629" y="81"/>
                </a:cubicBezTo>
                <a:cubicBezTo>
                  <a:pt x="420" y="0"/>
                  <a:pt x="181" y="99"/>
                  <a:pt x="90" y="304"/>
                </a:cubicBezTo>
                <a:cubicBezTo>
                  <a:pt x="0" y="507"/>
                  <a:pt x="82" y="739"/>
                  <a:pt x="269" y="844"/>
                </a:cubicBezTo>
                <a:cubicBezTo>
                  <a:pt x="282" y="852"/>
                  <a:pt x="288" y="868"/>
                  <a:pt x="282" y="883"/>
                </a:cubicBezTo>
                <a:cubicBezTo>
                  <a:pt x="282" y="883"/>
                  <a:pt x="282" y="883"/>
                  <a:pt x="282" y="883"/>
                </a:cubicBezTo>
                <a:cubicBezTo>
                  <a:pt x="278" y="893"/>
                  <a:pt x="270" y="899"/>
                  <a:pt x="260" y="902"/>
                </a:cubicBezTo>
                <a:cubicBezTo>
                  <a:pt x="236" y="908"/>
                  <a:pt x="217" y="926"/>
                  <a:pt x="210" y="952"/>
                </a:cubicBezTo>
                <a:cubicBezTo>
                  <a:pt x="203" y="982"/>
                  <a:pt x="217" y="1015"/>
                  <a:pt x="244" y="1030"/>
                </a:cubicBezTo>
                <a:cubicBezTo>
                  <a:pt x="281" y="1050"/>
                  <a:pt x="326" y="1033"/>
                  <a:pt x="341" y="995"/>
                </a:cubicBezTo>
                <a:cubicBezTo>
                  <a:pt x="350" y="973"/>
                  <a:pt x="347" y="950"/>
                  <a:pt x="336" y="932"/>
                </a:cubicBezTo>
                <a:cubicBezTo>
                  <a:pt x="331" y="924"/>
                  <a:pt x="330" y="914"/>
                  <a:pt x="333" y="905"/>
                </a:cubicBezTo>
                <a:cubicBezTo>
                  <a:pt x="334" y="903"/>
                  <a:pt x="334" y="903"/>
                  <a:pt x="334" y="903"/>
                </a:cubicBezTo>
                <a:cubicBezTo>
                  <a:pt x="340" y="889"/>
                  <a:pt x="355" y="881"/>
                  <a:pt x="370" y="885"/>
                </a:cubicBezTo>
                <a:close/>
                <a:moveTo>
                  <a:pt x="312" y="983"/>
                </a:moveTo>
                <a:cubicBezTo>
                  <a:pt x="305" y="1002"/>
                  <a:pt x="283" y="1012"/>
                  <a:pt x="263" y="1004"/>
                </a:cubicBezTo>
                <a:cubicBezTo>
                  <a:pt x="244" y="996"/>
                  <a:pt x="234" y="974"/>
                  <a:pt x="242" y="955"/>
                </a:cubicBezTo>
                <a:cubicBezTo>
                  <a:pt x="250" y="935"/>
                  <a:pt x="272" y="926"/>
                  <a:pt x="292" y="934"/>
                </a:cubicBezTo>
                <a:cubicBezTo>
                  <a:pt x="311" y="942"/>
                  <a:pt x="320" y="964"/>
                  <a:pt x="312" y="983"/>
                </a:cubicBezTo>
                <a:close/>
              </a:path>
            </a:pathLst>
          </a:custGeom>
          <a:solidFill>
            <a:srgbClr val="C29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latin typeface="Century Gothic" panose="020B0502020202020204" pitchFamily="34" charset="0"/>
            </a:endParaRPr>
          </a:p>
        </p:txBody>
      </p:sp>
      <p:sp>
        <p:nvSpPr>
          <p:cNvPr id="76" name="Freeform 53"/>
          <p:cNvSpPr>
            <a:spLocks noEditPoints="1"/>
          </p:cNvSpPr>
          <p:nvPr/>
        </p:nvSpPr>
        <p:spPr bwMode="auto">
          <a:xfrm>
            <a:off x="3305396" y="1243664"/>
            <a:ext cx="1723804" cy="1877704"/>
          </a:xfrm>
          <a:custGeom>
            <a:avLst/>
            <a:gdLst>
              <a:gd name="T0" fmla="*/ 747 w 949"/>
              <a:gd name="T1" fmla="*/ 945 h 1047"/>
              <a:gd name="T2" fmla="*/ 699 w 949"/>
              <a:gd name="T3" fmla="*/ 904 h 1047"/>
              <a:gd name="T4" fmla="*/ 678 w 949"/>
              <a:gd name="T5" fmla="*/ 887 h 1047"/>
              <a:gd name="T6" fmla="*/ 677 w 949"/>
              <a:gd name="T7" fmla="*/ 885 h 1047"/>
              <a:gd name="T8" fmla="*/ 690 w 949"/>
              <a:gd name="T9" fmla="*/ 847 h 1047"/>
              <a:gd name="T10" fmla="*/ 865 w 949"/>
              <a:gd name="T11" fmla="*/ 317 h 1047"/>
              <a:gd name="T12" fmla="*/ 305 w 949"/>
              <a:gd name="T13" fmla="*/ 95 h 1047"/>
              <a:gd name="T14" fmla="*/ 81 w 949"/>
              <a:gd name="T15" fmla="*/ 634 h 1047"/>
              <a:gd name="T16" fmla="*/ 590 w 949"/>
              <a:gd name="T17" fmla="*/ 889 h 1047"/>
              <a:gd name="T18" fmla="*/ 626 w 949"/>
              <a:gd name="T19" fmla="*/ 907 h 1047"/>
              <a:gd name="T20" fmla="*/ 626 w 949"/>
              <a:gd name="T21" fmla="*/ 908 h 1047"/>
              <a:gd name="T22" fmla="*/ 624 w 949"/>
              <a:gd name="T23" fmla="*/ 937 h 1047"/>
              <a:gd name="T24" fmla="*/ 624 w 949"/>
              <a:gd name="T25" fmla="*/ 1007 h 1047"/>
              <a:gd name="T26" fmla="*/ 703 w 949"/>
              <a:gd name="T27" fmla="*/ 1038 h 1047"/>
              <a:gd name="T28" fmla="*/ 747 w 949"/>
              <a:gd name="T29" fmla="*/ 945 h 1047"/>
              <a:gd name="T30" fmla="*/ 698 w 949"/>
              <a:gd name="T31" fmla="*/ 1006 h 1047"/>
              <a:gd name="T32" fmla="*/ 649 w 949"/>
              <a:gd name="T33" fmla="*/ 986 h 1047"/>
              <a:gd name="T34" fmla="*/ 669 w 949"/>
              <a:gd name="T35" fmla="*/ 937 h 1047"/>
              <a:gd name="T36" fmla="*/ 718 w 949"/>
              <a:gd name="T37" fmla="*/ 957 h 1047"/>
              <a:gd name="T38" fmla="*/ 698 w 949"/>
              <a:gd name="T39" fmla="*/ 100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9" h="1047">
                <a:moveTo>
                  <a:pt x="747" y="945"/>
                </a:moveTo>
                <a:cubicBezTo>
                  <a:pt x="738" y="923"/>
                  <a:pt x="720" y="909"/>
                  <a:pt x="699" y="904"/>
                </a:cubicBezTo>
                <a:cubicBezTo>
                  <a:pt x="690" y="902"/>
                  <a:pt x="682" y="896"/>
                  <a:pt x="678" y="887"/>
                </a:cubicBezTo>
                <a:cubicBezTo>
                  <a:pt x="677" y="885"/>
                  <a:pt x="677" y="885"/>
                  <a:pt x="677" y="885"/>
                </a:cubicBezTo>
                <a:cubicBezTo>
                  <a:pt x="671" y="871"/>
                  <a:pt x="677" y="855"/>
                  <a:pt x="690" y="847"/>
                </a:cubicBezTo>
                <a:cubicBezTo>
                  <a:pt x="871" y="741"/>
                  <a:pt x="949" y="515"/>
                  <a:pt x="865" y="317"/>
                </a:cubicBezTo>
                <a:cubicBezTo>
                  <a:pt x="773" y="100"/>
                  <a:pt x="521" y="0"/>
                  <a:pt x="305" y="95"/>
                </a:cubicBezTo>
                <a:cubicBezTo>
                  <a:pt x="99" y="186"/>
                  <a:pt x="0" y="425"/>
                  <a:pt x="81" y="634"/>
                </a:cubicBezTo>
                <a:cubicBezTo>
                  <a:pt x="161" y="841"/>
                  <a:pt x="383" y="947"/>
                  <a:pt x="590" y="889"/>
                </a:cubicBezTo>
                <a:cubicBezTo>
                  <a:pt x="604" y="885"/>
                  <a:pt x="620" y="893"/>
                  <a:pt x="626" y="907"/>
                </a:cubicBezTo>
                <a:cubicBezTo>
                  <a:pt x="626" y="908"/>
                  <a:pt x="626" y="908"/>
                  <a:pt x="626" y="908"/>
                </a:cubicBezTo>
                <a:cubicBezTo>
                  <a:pt x="630" y="917"/>
                  <a:pt x="629" y="928"/>
                  <a:pt x="624" y="937"/>
                </a:cubicBezTo>
                <a:cubicBezTo>
                  <a:pt x="612" y="957"/>
                  <a:pt x="611" y="984"/>
                  <a:pt x="624" y="1007"/>
                </a:cubicBezTo>
                <a:cubicBezTo>
                  <a:pt x="640" y="1034"/>
                  <a:pt x="673" y="1047"/>
                  <a:pt x="703" y="1038"/>
                </a:cubicBezTo>
                <a:cubicBezTo>
                  <a:pt x="743" y="1026"/>
                  <a:pt x="763" y="982"/>
                  <a:pt x="747" y="945"/>
                </a:cubicBezTo>
                <a:close/>
                <a:moveTo>
                  <a:pt x="698" y="1006"/>
                </a:moveTo>
                <a:cubicBezTo>
                  <a:pt x="679" y="1015"/>
                  <a:pt x="657" y="1006"/>
                  <a:pt x="649" y="986"/>
                </a:cubicBezTo>
                <a:cubicBezTo>
                  <a:pt x="640" y="967"/>
                  <a:pt x="649" y="945"/>
                  <a:pt x="669" y="937"/>
                </a:cubicBezTo>
                <a:cubicBezTo>
                  <a:pt x="688" y="928"/>
                  <a:pt x="710" y="937"/>
                  <a:pt x="718" y="957"/>
                </a:cubicBezTo>
                <a:cubicBezTo>
                  <a:pt x="727" y="976"/>
                  <a:pt x="718" y="998"/>
                  <a:pt x="698" y="1006"/>
                </a:cubicBezTo>
                <a:close/>
              </a:path>
            </a:pathLst>
          </a:custGeom>
          <a:solidFill>
            <a:srgbClr val="8C9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latin typeface="Century Gothic" panose="020B0502020202020204" pitchFamily="34" charset="0"/>
            </a:endParaRPr>
          </a:p>
        </p:txBody>
      </p:sp>
      <p:grpSp>
        <p:nvGrpSpPr>
          <p:cNvPr id="7" name="Group 6"/>
          <p:cNvGrpSpPr/>
          <p:nvPr/>
        </p:nvGrpSpPr>
        <p:grpSpPr>
          <a:xfrm>
            <a:off x="2050786" y="1372273"/>
            <a:ext cx="5810779" cy="5678687"/>
            <a:chOff x="2117461" y="1372273"/>
            <a:chExt cx="5810779" cy="5678687"/>
          </a:xfrm>
        </p:grpSpPr>
        <p:sp>
          <p:nvSpPr>
            <p:cNvPr id="32" name="Freeform 129"/>
            <p:cNvSpPr>
              <a:spLocks noEditPoints="1"/>
            </p:cNvSpPr>
            <p:nvPr/>
          </p:nvSpPr>
          <p:spPr bwMode="auto">
            <a:xfrm>
              <a:off x="3613702" y="2727712"/>
              <a:ext cx="2825265" cy="2825265"/>
            </a:xfrm>
            <a:custGeom>
              <a:avLst/>
              <a:gdLst>
                <a:gd name="T0" fmla="*/ 811 w 860"/>
                <a:gd name="T1" fmla="*/ 630 h 860"/>
                <a:gd name="T2" fmla="*/ 739 w 860"/>
                <a:gd name="T3" fmla="*/ 619 h 860"/>
                <a:gd name="T4" fmla="*/ 729 w 860"/>
                <a:gd name="T5" fmla="*/ 732 h 860"/>
                <a:gd name="T6" fmla="*/ 660 w 860"/>
                <a:gd name="T7" fmla="*/ 794 h 860"/>
                <a:gd name="T8" fmla="*/ 603 w 860"/>
                <a:gd name="T9" fmla="*/ 748 h 860"/>
                <a:gd name="T10" fmla="*/ 539 w 860"/>
                <a:gd name="T11" fmla="*/ 841 h 860"/>
                <a:gd name="T12" fmla="*/ 447 w 860"/>
                <a:gd name="T13" fmla="*/ 860 h 860"/>
                <a:gd name="T14" fmla="*/ 421 w 860"/>
                <a:gd name="T15" fmla="*/ 792 h 860"/>
                <a:gd name="T16" fmla="*/ 319 w 860"/>
                <a:gd name="T17" fmla="*/ 840 h 860"/>
                <a:gd name="T18" fmla="*/ 230 w 860"/>
                <a:gd name="T19" fmla="*/ 811 h 860"/>
                <a:gd name="T20" fmla="*/ 242 w 860"/>
                <a:gd name="T21" fmla="*/ 739 h 860"/>
                <a:gd name="T22" fmla="*/ 129 w 860"/>
                <a:gd name="T23" fmla="*/ 729 h 860"/>
                <a:gd name="T24" fmla="*/ 67 w 860"/>
                <a:gd name="T25" fmla="*/ 660 h 860"/>
                <a:gd name="T26" fmla="*/ 113 w 860"/>
                <a:gd name="T27" fmla="*/ 603 h 860"/>
                <a:gd name="T28" fmla="*/ 20 w 860"/>
                <a:gd name="T29" fmla="*/ 539 h 860"/>
                <a:gd name="T30" fmla="*/ 1 w 860"/>
                <a:gd name="T31" fmla="*/ 447 h 860"/>
                <a:gd name="T32" fmla="*/ 69 w 860"/>
                <a:gd name="T33" fmla="*/ 421 h 860"/>
                <a:gd name="T34" fmla="*/ 21 w 860"/>
                <a:gd name="T35" fmla="*/ 319 h 860"/>
                <a:gd name="T36" fmla="*/ 50 w 860"/>
                <a:gd name="T37" fmla="*/ 230 h 860"/>
                <a:gd name="T38" fmla="*/ 122 w 860"/>
                <a:gd name="T39" fmla="*/ 242 h 860"/>
                <a:gd name="T40" fmla="*/ 131 w 860"/>
                <a:gd name="T41" fmla="*/ 129 h 860"/>
                <a:gd name="T42" fmla="*/ 201 w 860"/>
                <a:gd name="T43" fmla="*/ 67 h 860"/>
                <a:gd name="T44" fmla="*/ 258 w 860"/>
                <a:gd name="T45" fmla="*/ 113 h 860"/>
                <a:gd name="T46" fmla="*/ 322 w 860"/>
                <a:gd name="T47" fmla="*/ 20 h 860"/>
                <a:gd name="T48" fmla="*/ 413 w 860"/>
                <a:gd name="T49" fmla="*/ 1 h 860"/>
                <a:gd name="T50" fmla="*/ 440 w 860"/>
                <a:gd name="T51" fmla="*/ 69 h 860"/>
                <a:gd name="T52" fmla="*/ 542 w 860"/>
                <a:gd name="T53" fmla="*/ 21 h 860"/>
                <a:gd name="T54" fmla="*/ 630 w 860"/>
                <a:gd name="T55" fmla="*/ 50 h 860"/>
                <a:gd name="T56" fmla="*/ 619 w 860"/>
                <a:gd name="T57" fmla="*/ 122 h 860"/>
                <a:gd name="T58" fmla="*/ 732 w 860"/>
                <a:gd name="T59" fmla="*/ 131 h 860"/>
                <a:gd name="T60" fmla="*/ 794 w 860"/>
                <a:gd name="T61" fmla="*/ 201 h 860"/>
                <a:gd name="T62" fmla="*/ 748 w 860"/>
                <a:gd name="T63" fmla="*/ 258 h 860"/>
                <a:gd name="T64" fmla="*/ 841 w 860"/>
                <a:gd name="T65" fmla="*/ 322 h 860"/>
                <a:gd name="T66" fmla="*/ 860 w 860"/>
                <a:gd name="T67" fmla="*/ 413 h 860"/>
                <a:gd name="T68" fmla="*/ 792 w 860"/>
                <a:gd name="T69" fmla="*/ 440 h 860"/>
                <a:gd name="T70" fmla="*/ 840 w 860"/>
                <a:gd name="T71" fmla="*/ 542 h 860"/>
                <a:gd name="T72" fmla="*/ 510 w 860"/>
                <a:gd name="T73" fmla="*/ 234 h 860"/>
                <a:gd name="T74" fmla="*/ 351 w 860"/>
                <a:gd name="T75" fmla="*/ 626 h 860"/>
                <a:gd name="T76" fmla="*/ 510 w 860"/>
                <a:gd name="T77" fmla="*/ 234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0" h="860">
                  <a:moveTo>
                    <a:pt x="843" y="551"/>
                  </a:moveTo>
                  <a:cubicBezTo>
                    <a:pt x="811" y="630"/>
                    <a:pt x="811" y="630"/>
                    <a:pt x="811" y="630"/>
                  </a:cubicBezTo>
                  <a:cubicBezTo>
                    <a:pt x="810" y="634"/>
                    <a:pt x="806" y="635"/>
                    <a:pt x="802" y="635"/>
                  </a:cubicBezTo>
                  <a:cubicBezTo>
                    <a:pt x="739" y="619"/>
                    <a:pt x="739" y="619"/>
                    <a:pt x="739" y="619"/>
                  </a:cubicBezTo>
                  <a:cubicBezTo>
                    <a:pt x="727" y="639"/>
                    <a:pt x="712" y="658"/>
                    <a:pt x="697" y="675"/>
                  </a:cubicBezTo>
                  <a:cubicBezTo>
                    <a:pt x="729" y="732"/>
                    <a:pt x="729" y="732"/>
                    <a:pt x="729" y="732"/>
                  </a:cubicBezTo>
                  <a:cubicBezTo>
                    <a:pt x="731" y="735"/>
                    <a:pt x="730" y="739"/>
                    <a:pt x="727" y="741"/>
                  </a:cubicBezTo>
                  <a:cubicBezTo>
                    <a:pt x="660" y="794"/>
                    <a:pt x="660" y="794"/>
                    <a:pt x="660" y="794"/>
                  </a:cubicBezTo>
                  <a:cubicBezTo>
                    <a:pt x="657" y="796"/>
                    <a:pt x="653" y="796"/>
                    <a:pt x="650" y="793"/>
                  </a:cubicBezTo>
                  <a:cubicBezTo>
                    <a:pt x="603" y="748"/>
                    <a:pt x="603" y="748"/>
                    <a:pt x="603" y="748"/>
                  </a:cubicBezTo>
                  <a:cubicBezTo>
                    <a:pt x="583" y="759"/>
                    <a:pt x="561" y="768"/>
                    <a:pt x="539" y="775"/>
                  </a:cubicBezTo>
                  <a:cubicBezTo>
                    <a:pt x="539" y="841"/>
                    <a:pt x="539" y="841"/>
                    <a:pt x="539" y="841"/>
                  </a:cubicBezTo>
                  <a:cubicBezTo>
                    <a:pt x="539" y="844"/>
                    <a:pt x="536" y="847"/>
                    <a:pt x="532" y="848"/>
                  </a:cubicBezTo>
                  <a:cubicBezTo>
                    <a:pt x="447" y="860"/>
                    <a:pt x="447" y="860"/>
                    <a:pt x="447" y="860"/>
                  </a:cubicBezTo>
                  <a:cubicBezTo>
                    <a:pt x="444" y="860"/>
                    <a:pt x="440" y="858"/>
                    <a:pt x="439" y="855"/>
                  </a:cubicBezTo>
                  <a:cubicBezTo>
                    <a:pt x="421" y="792"/>
                    <a:pt x="421" y="792"/>
                    <a:pt x="421" y="792"/>
                  </a:cubicBezTo>
                  <a:cubicBezTo>
                    <a:pt x="398" y="791"/>
                    <a:pt x="375" y="789"/>
                    <a:pt x="352" y="783"/>
                  </a:cubicBezTo>
                  <a:cubicBezTo>
                    <a:pt x="319" y="840"/>
                    <a:pt x="319" y="840"/>
                    <a:pt x="319" y="840"/>
                  </a:cubicBezTo>
                  <a:cubicBezTo>
                    <a:pt x="317" y="843"/>
                    <a:pt x="313" y="844"/>
                    <a:pt x="310" y="843"/>
                  </a:cubicBezTo>
                  <a:cubicBezTo>
                    <a:pt x="230" y="811"/>
                    <a:pt x="230" y="811"/>
                    <a:pt x="230" y="811"/>
                  </a:cubicBezTo>
                  <a:cubicBezTo>
                    <a:pt x="227" y="810"/>
                    <a:pt x="225" y="806"/>
                    <a:pt x="226" y="802"/>
                  </a:cubicBezTo>
                  <a:cubicBezTo>
                    <a:pt x="242" y="739"/>
                    <a:pt x="242" y="739"/>
                    <a:pt x="242" y="739"/>
                  </a:cubicBezTo>
                  <a:cubicBezTo>
                    <a:pt x="221" y="727"/>
                    <a:pt x="203" y="712"/>
                    <a:pt x="186" y="697"/>
                  </a:cubicBezTo>
                  <a:cubicBezTo>
                    <a:pt x="129" y="729"/>
                    <a:pt x="129" y="729"/>
                    <a:pt x="129" y="729"/>
                  </a:cubicBezTo>
                  <a:cubicBezTo>
                    <a:pt x="126" y="731"/>
                    <a:pt x="122" y="730"/>
                    <a:pt x="120" y="727"/>
                  </a:cubicBezTo>
                  <a:cubicBezTo>
                    <a:pt x="67" y="660"/>
                    <a:pt x="67" y="660"/>
                    <a:pt x="67" y="660"/>
                  </a:cubicBezTo>
                  <a:cubicBezTo>
                    <a:pt x="65" y="657"/>
                    <a:pt x="65" y="653"/>
                    <a:pt x="67" y="650"/>
                  </a:cubicBezTo>
                  <a:cubicBezTo>
                    <a:pt x="113" y="603"/>
                    <a:pt x="113" y="603"/>
                    <a:pt x="113" y="603"/>
                  </a:cubicBezTo>
                  <a:cubicBezTo>
                    <a:pt x="102" y="583"/>
                    <a:pt x="92" y="561"/>
                    <a:pt x="85" y="539"/>
                  </a:cubicBezTo>
                  <a:cubicBezTo>
                    <a:pt x="20" y="539"/>
                    <a:pt x="20" y="539"/>
                    <a:pt x="20" y="539"/>
                  </a:cubicBezTo>
                  <a:cubicBezTo>
                    <a:pt x="17" y="539"/>
                    <a:pt x="13" y="536"/>
                    <a:pt x="13" y="532"/>
                  </a:cubicBezTo>
                  <a:cubicBezTo>
                    <a:pt x="1" y="447"/>
                    <a:pt x="1" y="447"/>
                    <a:pt x="1" y="447"/>
                  </a:cubicBezTo>
                  <a:cubicBezTo>
                    <a:pt x="0" y="444"/>
                    <a:pt x="3" y="440"/>
                    <a:pt x="6" y="439"/>
                  </a:cubicBezTo>
                  <a:cubicBezTo>
                    <a:pt x="69" y="421"/>
                    <a:pt x="69" y="421"/>
                    <a:pt x="69" y="421"/>
                  </a:cubicBezTo>
                  <a:cubicBezTo>
                    <a:pt x="69" y="398"/>
                    <a:pt x="72" y="375"/>
                    <a:pt x="77" y="352"/>
                  </a:cubicBezTo>
                  <a:cubicBezTo>
                    <a:pt x="21" y="319"/>
                    <a:pt x="21" y="319"/>
                    <a:pt x="21" y="319"/>
                  </a:cubicBezTo>
                  <a:cubicBezTo>
                    <a:pt x="18" y="317"/>
                    <a:pt x="16" y="313"/>
                    <a:pt x="18" y="310"/>
                  </a:cubicBezTo>
                  <a:cubicBezTo>
                    <a:pt x="50" y="230"/>
                    <a:pt x="50" y="230"/>
                    <a:pt x="50" y="230"/>
                  </a:cubicBezTo>
                  <a:cubicBezTo>
                    <a:pt x="51" y="227"/>
                    <a:pt x="55" y="225"/>
                    <a:pt x="58" y="226"/>
                  </a:cubicBezTo>
                  <a:cubicBezTo>
                    <a:pt x="122" y="242"/>
                    <a:pt x="122" y="242"/>
                    <a:pt x="122" y="242"/>
                  </a:cubicBezTo>
                  <a:cubicBezTo>
                    <a:pt x="134" y="221"/>
                    <a:pt x="148" y="203"/>
                    <a:pt x="164" y="186"/>
                  </a:cubicBezTo>
                  <a:cubicBezTo>
                    <a:pt x="131" y="129"/>
                    <a:pt x="131" y="129"/>
                    <a:pt x="131" y="129"/>
                  </a:cubicBezTo>
                  <a:cubicBezTo>
                    <a:pt x="130" y="126"/>
                    <a:pt x="131" y="122"/>
                    <a:pt x="133" y="120"/>
                  </a:cubicBezTo>
                  <a:cubicBezTo>
                    <a:pt x="201" y="67"/>
                    <a:pt x="201" y="67"/>
                    <a:pt x="201" y="67"/>
                  </a:cubicBezTo>
                  <a:cubicBezTo>
                    <a:pt x="204" y="65"/>
                    <a:pt x="208" y="65"/>
                    <a:pt x="210" y="67"/>
                  </a:cubicBezTo>
                  <a:cubicBezTo>
                    <a:pt x="258" y="113"/>
                    <a:pt x="258" y="113"/>
                    <a:pt x="258" y="113"/>
                  </a:cubicBezTo>
                  <a:cubicBezTo>
                    <a:pt x="278" y="102"/>
                    <a:pt x="300" y="92"/>
                    <a:pt x="322" y="85"/>
                  </a:cubicBezTo>
                  <a:cubicBezTo>
                    <a:pt x="322" y="20"/>
                    <a:pt x="322" y="20"/>
                    <a:pt x="322" y="20"/>
                  </a:cubicBezTo>
                  <a:cubicBezTo>
                    <a:pt x="322" y="16"/>
                    <a:pt x="325" y="13"/>
                    <a:pt x="328" y="13"/>
                  </a:cubicBezTo>
                  <a:cubicBezTo>
                    <a:pt x="413" y="1"/>
                    <a:pt x="413" y="1"/>
                    <a:pt x="413" y="1"/>
                  </a:cubicBezTo>
                  <a:cubicBezTo>
                    <a:pt x="417" y="0"/>
                    <a:pt x="420" y="3"/>
                    <a:pt x="421" y="6"/>
                  </a:cubicBezTo>
                  <a:cubicBezTo>
                    <a:pt x="440" y="69"/>
                    <a:pt x="440" y="69"/>
                    <a:pt x="440" y="69"/>
                  </a:cubicBezTo>
                  <a:cubicBezTo>
                    <a:pt x="463" y="69"/>
                    <a:pt x="486" y="72"/>
                    <a:pt x="509" y="77"/>
                  </a:cubicBezTo>
                  <a:cubicBezTo>
                    <a:pt x="542" y="21"/>
                    <a:pt x="542" y="21"/>
                    <a:pt x="542" y="21"/>
                  </a:cubicBezTo>
                  <a:cubicBezTo>
                    <a:pt x="544" y="18"/>
                    <a:pt x="548" y="16"/>
                    <a:pt x="551" y="18"/>
                  </a:cubicBezTo>
                  <a:cubicBezTo>
                    <a:pt x="630" y="50"/>
                    <a:pt x="630" y="50"/>
                    <a:pt x="630" y="50"/>
                  </a:cubicBezTo>
                  <a:cubicBezTo>
                    <a:pt x="634" y="51"/>
                    <a:pt x="635" y="55"/>
                    <a:pt x="635" y="58"/>
                  </a:cubicBezTo>
                  <a:cubicBezTo>
                    <a:pt x="619" y="122"/>
                    <a:pt x="619" y="122"/>
                    <a:pt x="619" y="122"/>
                  </a:cubicBezTo>
                  <a:cubicBezTo>
                    <a:pt x="639" y="134"/>
                    <a:pt x="658" y="148"/>
                    <a:pt x="675" y="164"/>
                  </a:cubicBezTo>
                  <a:cubicBezTo>
                    <a:pt x="732" y="131"/>
                    <a:pt x="732" y="131"/>
                    <a:pt x="732" y="131"/>
                  </a:cubicBezTo>
                  <a:cubicBezTo>
                    <a:pt x="735" y="130"/>
                    <a:pt x="739" y="131"/>
                    <a:pt x="741" y="133"/>
                  </a:cubicBezTo>
                  <a:cubicBezTo>
                    <a:pt x="794" y="201"/>
                    <a:pt x="794" y="201"/>
                    <a:pt x="794" y="201"/>
                  </a:cubicBezTo>
                  <a:cubicBezTo>
                    <a:pt x="796" y="204"/>
                    <a:pt x="796" y="208"/>
                    <a:pt x="793" y="210"/>
                  </a:cubicBezTo>
                  <a:cubicBezTo>
                    <a:pt x="748" y="258"/>
                    <a:pt x="748" y="258"/>
                    <a:pt x="748" y="258"/>
                  </a:cubicBezTo>
                  <a:cubicBezTo>
                    <a:pt x="759" y="278"/>
                    <a:pt x="768" y="300"/>
                    <a:pt x="775" y="322"/>
                  </a:cubicBezTo>
                  <a:cubicBezTo>
                    <a:pt x="841" y="322"/>
                    <a:pt x="841" y="322"/>
                    <a:pt x="841" y="322"/>
                  </a:cubicBezTo>
                  <a:cubicBezTo>
                    <a:pt x="844" y="322"/>
                    <a:pt x="847" y="325"/>
                    <a:pt x="848" y="328"/>
                  </a:cubicBezTo>
                  <a:cubicBezTo>
                    <a:pt x="860" y="413"/>
                    <a:pt x="860" y="413"/>
                    <a:pt x="860" y="413"/>
                  </a:cubicBezTo>
                  <a:cubicBezTo>
                    <a:pt x="860" y="417"/>
                    <a:pt x="858" y="420"/>
                    <a:pt x="855" y="421"/>
                  </a:cubicBezTo>
                  <a:cubicBezTo>
                    <a:pt x="792" y="440"/>
                    <a:pt x="792" y="440"/>
                    <a:pt x="792" y="440"/>
                  </a:cubicBezTo>
                  <a:cubicBezTo>
                    <a:pt x="791" y="463"/>
                    <a:pt x="789" y="486"/>
                    <a:pt x="783" y="509"/>
                  </a:cubicBezTo>
                  <a:cubicBezTo>
                    <a:pt x="840" y="542"/>
                    <a:pt x="840" y="542"/>
                    <a:pt x="840" y="542"/>
                  </a:cubicBezTo>
                  <a:cubicBezTo>
                    <a:pt x="843" y="544"/>
                    <a:pt x="844" y="548"/>
                    <a:pt x="843" y="551"/>
                  </a:cubicBezTo>
                  <a:close/>
                  <a:moveTo>
                    <a:pt x="510" y="234"/>
                  </a:moveTo>
                  <a:cubicBezTo>
                    <a:pt x="401" y="191"/>
                    <a:pt x="278" y="243"/>
                    <a:pt x="234" y="351"/>
                  </a:cubicBezTo>
                  <a:cubicBezTo>
                    <a:pt x="191" y="459"/>
                    <a:pt x="243" y="583"/>
                    <a:pt x="351" y="626"/>
                  </a:cubicBezTo>
                  <a:cubicBezTo>
                    <a:pt x="459" y="670"/>
                    <a:pt x="583" y="618"/>
                    <a:pt x="626" y="509"/>
                  </a:cubicBezTo>
                  <a:cubicBezTo>
                    <a:pt x="670" y="401"/>
                    <a:pt x="618" y="278"/>
                    <a:pt x="510" y="2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pPr defTabSz="501640"/>
              <a:endParaRPr lang="en-GB" sz="1975" dirty="0">
                <a:solidFill>
                  <a:srgbClr val="003768"/>
                </a:solidFill>
              </a:endParaRPr>
            </a:p>
          </p:txBody>
        </p:sp>
        <p:sp>
          <p:nvSpPr>
            <p:cNvPr id="78" name="Freeform 55"/>
            <p:cNvSpPr>
              <a:spLocks noEditPoints="1"/>
            </p:cNvSpPr>
            <p:nvPr/>
          </p:nvSpPr>
          <p:spPr bwMode="auto">
            <a:xfrm>
              <a:off x="2117461" y="2454243"/>
              <a:ext cx="1881187" cy="1715713"/>
            </a:xfrm>
            <a:custGeom>
              <a:avLst/>
              <a:gdLst>
                <a:gd name="T0" fmla="*/ 994 w 1049"/>
                <a:gd name="T1" fmla="*/ 616 h 957"/>
                <a:gd name="T2" fmla="*/ 932 w 1049"/>
                <a:gd name="T3" fmla="*/ 621 h 957"/>
                <a:gd name="T4" fmla="*/ 905 w 1049"/>
                <a:gd name="T5" fmla="*/ 624 h 957"/>
                <a:gd name="T6" fmla="*/ 902 w 1049"/>
                <a:gd name="T7" fmla="*/ 623 h 957"/>
                <a:gd name="T8" fmla="*/ 885 w 1049"/>
                <a:gd name="T9" fmla="*/ 588 h 957"/>
                <a:gd name="T10" fmla="*/ 634 w 1049"/>
                <a:gd name="T11" fmla="*/ 89 h 957"/>
                <a:gd name="T12" fmla="*/ 81 w 1049"/>
                <a:gd name="T13" fmla="*/ 329 h 957"/>
                <a:gd name="T14" fmla="*/ 304 w 1049"/>
                <a:gd name="T15" fmla="*/ 868 h 957"/>
                <a:gd name="T16" fmla="*/ 844 w 1049"/>
                <a:gd name="T17" fmla="*/ 689 h 957"/>
                <a:gd name="T18" fmla="*/ 882 w 1049"/>
                <a:gd name="T19" fmla="*/ 675 h 957"/>
                <a:gd name="T20" fmla="*/ 883 w 1049"/>
                <a:gd name="T21" fmla="*/ 676 h 957"/>
                <a:gd name="T22" fmla="*/ 902 w 1049"/>
                <a:gd name="T23" fmla="*/ 698 h 957"/>
                <a:gd name="T24" fmla="*/ 952 w 1049"/>
                <a:gd name="T25" fmla="*/ 747 h 957"/>
                <a:gd name="T26" fmla="*/ 1029 w 1049"/>
                <a:gd name="T27" fmla="*/ 713 h 957"/>
                <a:gd name="T28" fmla="*/ 994 w 1049"/>
                <a:gd name="T29" fmla="*/ 616 h 957"/>
                <a:gd name="T30" fmla="*/ 954 w 1049"/>
                <a:gd name="T31" fmla="*/ 715 h 957"/>
                <a:gd name="T32" fmla="*/ 933 w 1049"/>
                <a:gd name="T33" fmla="*/ 666 h 957"/>
                <a:gd name="T34" fmla="*/ 983 w 1049"/>
                <a:gd name="T35" fmla="*/ 645 h 957"/>
                <a:gd name="T36" fmla="*/ 1004 w 1049"/>
                <a:gd name="T37" fmla="*/ 694 h 957"/>
                <a:gd name="T38" fmla="*/ 954 w 1049"/>
                <a:gd name="T39" fmla="*/ 715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9" h="957">
                  <a:moveTo>
                    <a:pt x="994" y="616"/>
                  </a:moveTo>
                  <a:cubicBezTo>
                    <a:pt x="973" y="607"/>
                    <a:pt x="950" y="610"/>
                    <a:pt x="932" y="621"/>
                  </a:cubicBezTo>
                  <a:cubicBezTo>
                    <a:pt x="924" y="627"/>
                    <a:pt x="914" y="628"/>
                    <a:pt x="905" y="624"/>
                  </a:cubicBezTo>
                  <a:cubicBezTo>
                    <a:pt x="902" y="623"/>
                    <a:pt x="902" y="623"/>
                    <a:pt x="902" y="623"/>
                  </a:cubicBezTo>
                  <a:cubicBezTo>
                    <a:pt x="888" y="618"/>
                    <a:pt x="881" y="602"/>
                    <a:pt x="885" y="588"/>
                  </a:cubicBezTo>
                  <a:cubicBezTo>
                    <a:pt x="938" y="385"/>
                    <a:pt x="834" y="169"/>
                    <a:pt x="634" y="89"/>
                  </a:cubicBezTo>
                  <a:cubicBezTo>
                    <a:pt x="415" y="0"/>
                    <a:pt x="166" y="108"/>
                    <a:pt x="81" y="329"/>
                  </a:cubicBezTo>
                  <a:cubicBezTo>
                    <a:pt x="0" y="538"/>
                    <a:pt x="99" y="777"/>
                    <a:pt x="304" y="868"/>
                  </a:cubicBezTo>
                  <a:cubicBezTo>
                    <a:pt x="507" y="957"/>
                    <a:pt x="739" y="875"/>
                    <a:pt x="844" y="689"/>
                  </a:cubicBezTo>
                  <a:cubicBezTo>
                    <a:pt x="852" y="675"/>
                    <a:pt x="868" y="670"/>
                    <a:pt x="882" y="675"/>
                  </a:cubicBezTo>
                  <a:cubicBezTo>
                    <a:pt x="883" y="676"/>
                    <a:pt x="883" y="676"/>
                    <a:pt x="883" y="676"/>
                  </a:cubicBezTo>
                  <a:cubicBezTo>
                    <a:pt x="893" y="679"/>
                    <a:pt x="899" y="688"/>
                    <a:pt x="902" y="698"/>
                  </a:cubicBezTo>
                  <a:cubicBezTo>
                    <a:pt x="908" y="721"/>
                    <a:pt x="926" y="741"/>
                    <a:pt x="952" y="747"/>
                  </a:cubicBezTo>
                  <a:cubicBezTo>
                    <a:pt x="982" y="755"/>
                    <a:pt x="1015" y="741"/>
                    <a:pt x="1029" y="713"/>
                  </a:cubicBezTo>
                  <a:cubicBezTo>
                    <a:pt x="1049" y="676"/>
                    <a:pt x="1032" y="631"/>
                    <a:pt x="994" y="616"/>
                  </a:cubicBezTo>
                  <a:close/>
                  <a:moveTo>
                    <a:pt x="954" y="715"/>
                  </a:moveTo>
                  <a:cubicBezTo>
                    <a:pt x="935" y="707"/>
                    <a:pt x="926" y="685"/>
                    <a:pt x="933" y="666"/>
                  </a:cubicBezTo>
                  <a:cubicBezTo>
                    <a:pt x="941" y="646"/>
                    <a:pt x="963" y="637"/>
                    <a:pt x="983" y="645"/>
                  </a:cubicBezTo>
                  <a:cubicBezTo>
                    <a:pt x="1002" y="653"/>
                    <a:pt x="1012" y="675"/>
                    <a:pt x="1004" y="694"/>
                  </a:cubicBezTo>
                  <a:cubicBezTo>
                    <a:pt x="996" y="714"/>
                    <a:pt x="974" y="723"/>
                    <a:pt x="954" y="715"/>
                  </a:cubicBezTo>
                  <a:close/>
                </a:path>
              </a:pathLst>
            </a:custGeom>
            <a:solidFill>
              <a:srgbClr val="8C9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latin typeface="Century Gothic" panose="020B0502020202020204" pitchFamily="34" charset="0"/>
              </a:endParaRPr>
            </a:p>
          </p:txBody>
        </p:sp>
        <p:sp>
          <p:nvSpPr>
            <p:cNvPr id="80" name="Freeform 57"/>
            <p:cNvSpPr>
              <a:spLocks noEditPoints="1"/>
            </p:cNvSpPr>
            <p:nvPr/>
          </p:nvSpPr>
          <p:spPr bwMode="auto">
            <a:xfrm>
              <a:off x="2119203" y="4161247"/>
              <a:ext cx="1879446" cy="1701778"/>
            </a:xfrm>
            <a:custGeom>
              <a:avLst/>
              <a:gdLst>
                <a:gd name="T0" fmla="*/ 1039 w 1048"/>
                <a:gd name="T1" fmla="*/ 246 h 949"/>
                <a:gd name="T2" fmla="*/ 945 w 1048"/>
                <a:gd name="T3" fmla="*/ 202 h 949"/>
                <a:gd name="T4" fmla="*/ 905 w 1048"/>
                <a:gd name="T5" fmla="*/ 250 h 949"/>
                <a:gd name="T6" fmla="*/ 888 w 1048"/>
                <a:gd name="T7" fmla="*/ 271 h 949"/>
                <a:gd name="T8" fmla="*/ 885 w 1048"/>
                <a:gd name="T9" fmla="*/ 273 h 949"/>
                <a:gd name="T10" fmla="*/ 848 w 1048"/>
                <a:gd name="T11" fmla="*/ 260 h 949"/>
                <a:gd name="T12" fmla="*/ 318 w 1048"/>
                <a:gd name="T13" fmla="*/ 84 h 949"/>
                <a:gd name="T14" fmla="*/ 96 w 1048"/>
                <a:gd name="T15" fmla="*/ 645 h 949"/>
                <a:gd name="T16" fmla="*/ 635 w 1048"/>
                <a:gd name="T17" fmla="*/ 868 h 949"/>
                <a:gd name="T18" fmla="*/ 890 w 1048"/>
                <a:gd name="T19" fmla="*/ 360 h 949"/>
                <a:gd name="T20" fmla="*/ 908 w 1048"/>
                <a:gd name="T21" fmla="*/ 323 h 949"/>
                <a:gd name="T22" fmla="*/ 909 w 1048"/>
                <a:gd name="T23" fmla="*/ 323 h 949"/>
                <a:gd name="T24" fmla="*/ 937 w 1048"/>
                <a:gd name="T25" fmla="*/ 326 h 949"/>
                <a:gd name="T26" fmla="*/ 1008 w 1048"/>
                <a:gd name="T27" fmla="*/ 325 h 949"/>
                <a:gd name="T28" fmla="*/ 1039 w 1048"/>
                <a:gd name="T29" fmla="*/ 246 h 949"/>
                <a:gd name="T30" fmla="*/ 987 w 1048"/>
                <a:gd name="T31" fmla="*/ 301 h 949"/>
                <a:gd name="T32" fmla="*/ 937 w 1048"/>
                <a:gd name="T33" fmla="*/ 281 h 949"/>
                <a:gd name="T34" fmla="*/ 957 w 1048"/>
                <a:gd name="T35" fmla="*/ 231 h 949"/>
                <a:gd name="T36" fmla="*/ 1007 w 1048"/>
                <a:gd name="T37" fmla="*/ 251 h 949"/>
                <a:gd name="T38" fmla="*/ 987 w 1048"/>
                <a:gd name="T39" fmla="*/ 30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8" h="949">
                  <a:moveTo>
                    <a:pt x="1039" y="246"/>
                  </a:moveTo>
                  <a:cubicBezTo>
                    <a:pt x="1027" y="206"/>
                    <a:pt x="983" y="186"/>
                    <a:pt x="945" y="202"/>
                  </a:cubicBezTo>
                  <a:cubicBezTo>
                    <a:pt x="924" y="211"/>
                    <a:pt x="910" y="229"/>
                    <a:pt x="905" y="250"/>
                  </a:cubicBezTo>
                  <a:cubicBezTo>
                    <a:pt x="903" y="260"/>
                    <a:pt x="897" y="268"/>
                    <a:pt x="888" y="271"/>
                  </a:cubicBezTo>
                  <a:cubicBezTo>
                    <a:pt x="885" y="273"/>
                    <a:pt x="885" y="273"/>
                    <a:pt x="885" y="273"/>
                  </a:cubicBezTo>
                  <a:cubicBezTo>
                    <a:pt x="871" y="278"/>
                    <a:pt x="855" y="273"/>
                    <a:pt x="848" y="260"/>
                  </a:cubicBezTo>
                  <a:cubicBezTo>
                    <a:pt x="742" y="79"/>
                    <a:pt x="516" y="0"/>
                    <a:pt x="318" y="84"/>
                  </a:cubicBezTo>
                  <a:cubicBezTo>
                    <a:pt x="101" y="176"/>
                    <a:pt x="0" y="428"/>
                    <a:pt x="96" y="645"/>
                  </a:cubicBezTo>
                  <a:cubicBezTo>
                    <a:pt x="187" y="850"/>
                    <a:pt x="426" y="949"/>
                    <a:pt x="635" y="868"/>
                  </a:cubicBezTo>
                  <a:cubicBezTo>
                    <a:pt x="842" y="788"/>
                    <a:pt x="948" y="566"/>
                    <a:pt x="890" y="360"/>
                  </a:cubicBezTo>
                  <a:cubicBezTo>
                    <a:pt x="886" y="345"/>
                    <a:pt x="894" y="329"/>
                    <a:pt x="908" y="323"/>
                  </a:cubicBezTo>
                  <a:cubicBezTo>
                    <a:pt x="909" y="323"/>
                    <a:pt x="909" y="323"/>
                    <a:pt x="909" y="323"/>
                  </a:cubicBezTo>
                  <a:cubicBezTo>
                    <a:pt x="918" y="319"/>
                    <a:pt x="929" y="320"/>
                    <a:pt x="937" y="326"/>
                  </a:cubicBezTo>
                  <a:cubicBezTo>
                    <a:pt x="958" y="338"/>
                    <a:pt x="985" y="339"/>
                    <a:pt x="1008" y="325"/>
                  </a:cubicBezTo>
                  <a:cubicBezTo>
                    <a:pt x="1035" y="309"/>
                    <a:pt x="1048" y="276"/>
                    <a:pt x="1039" y="246"/>
                  </a:cubicBezTo>
                  <a:close/>
                  <a:moveTo>
                    <a:pt x="987" y="301"/>
                  </a:moveTo>
                  <a:cubicBezTo>
                    <a:pt x="968" y="309"/>
                    <a:pt x="946" y="300"/>
                    <a:pt x="937" y="281"/>
                  </a:cubicBezTo>
                  <a:cubicBezTo>
                    <a:pt x="929" y="261"/>
                    <a:pt x="938" y="239"/>
                    <a:pt x="957" y="231"/>
                  </a:cubicBezTo>
                  <a:cubicBezTo>
                    <a:pt x="977" y="223"/>
                    <a:pt x="999" y="232"/>
                    <a:pt x="1007" y="251"/>
                  </a:cubicBezTo>
                  <a:cubicBezTo>
                    <a:pt x="1015" y="270"/>
                    <a:pt x="1006" y="293"/>
                    <a:pt x="987" y="301"/>
                  </a:cubicBezTo>
                  <a:close/>
                </a:path>
              </a:pathLst>
            </a:custGeom>
            <a:solidFill>
              <a:srgbClr val="8C9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latin typeface="Century Gothic" panose="020B0502020202020204" pitchFamily="34" charset="0"/>
              </a:endParaRPr>
            </a:p>
          </p:txBody>
        </p:sp>
        <p:sp>
          <p:nvSpPr>
            <p:cNvPr id="82" name="Freeform 59"/>
            <p:cNvSpPr>
              <a:spLocks noEditPoints="1"/>
            </p:cNvSpPr>
            <p:nvPr/>
          </p:nvSpPr>
          <p:spPr bwMode="auto">
            <a:xfrm>
              <a:off x="3331524" y="5169773"/>
              <a:ext cx="1715713" cy="1881187"/>
            </a:xfrm>
            <a:custGeom>
              <a:avLst/>
              <a:gdLst>
                <a:gd name="T0" fmla="*/ 688 w 957"/>
                <a:gd name="T1" fmla="*/ 205 h 1049"/>
                <a:gd name="T2" fmla="*/ 675 w 957"/>
                <a:gd name="T3" fmla="*/ 167 h 1049"/>
                <a:gd name="T4" fmla="*/ 675 w 957"/>
                <a:gd name="T5" fmla="*/ 166 h 1049"/>
                <a:gd name="T6" fmla="*/ 697 w 957"/>
                <a:gd name="T7" fmla="*/ 148 h 1049"/>
                <a:gd name="T8" fmla="*/ 747 w 957"/>
                <a:gd name="T9" fmla="*/ 97 h 1049"/>
                <a:gd name="T10" fmla="*/ 713 w 957"/>
                <a:gd name="T11" fmla="*/ 20 h 1049"/>
                <a:gd name="T12" fmla="*/ 616 w 957"/>
                <a:gd name="T13" fmla="*/ 55 h 1049"/>
                <a:gd name="T14" fmla="*/ 621 w 957"/>
                <a:gd name="T15" fmla="*/ 117 h 1049"/>
                <a:gd name="T16" fmla="*/ 624 w 957"/>
                <a:gd name="T17" fmla="*/ 145 h 1049"/>
                <a:gd name="T18" fmla="*/ 623 w 957"/>
                <a:gd name="T19" fmla="*/ 147 h 1049"/>
                <a:gd name="T20" fmla="*/ 588 w 957"/>
                <a:gd name="T21" fmla="*/ 165 h 1049"/>
                <a:gd name="T22" fmla="*/ 88 w 957"/>
                <a:gd name="T23" fmla="*/ 415 h 1049"/>
                <a:gd name="T24" fmla="*/ 328 w 957"/>
                <a:gd name="T25" fmla="*/ 968 h 1049"/>
                <a:gd name="T26" fmla="*/ 867 w 957"/>
                <a:gd name="T27" fmla="*/ 745 h 1049"/>
                <a:gd name="T28" fmla="*/ 688 w 957"/>
                <a:gd name="T29" fmla="*/ 205 h 1049"/>
                <a:gd name="T30" fmla="*/ 666 w 957"/>
                <a:gd name="T31" fmla="*/ 116 h 1049"/>
                <a:gd name="T32" fmla="*/ 645 w 957"/>
                <a:gd name="T33" fmla="*/ 67 h 1049"/>
                <a:gd name="T34" fmla="*/ 694 w 957"/>
                <a:gd name="T35" fmla="*/ 46 h 1049"/>
                <a:gd name="T36" fmla="*/ 715 w 957"/>
                <a:gd name="T37" fmla="*/ 95 h 1049"/>
                <a:gd name="T38" fmla="*/ 666 w 957"/>
                <a:gd name="T39" fmla="*/ 116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7" h="1049">
                  <a:moveTo>
                    <a:pt x="688" y="205"/>
                  </a:moveTo>
                  <a:cubicBezTo>
                    <a:pt x="675" y="198"/>
                    <a:pt x="669" y="181"/>
                    <a:pt x="675" y="167"/>
                  </a:cubicBezTo>
                  <a:cubicBezTo>
                    <a:pt x="675" y="166"/>
                    <a:pt x="675" y="166"/>
                    <a:pt x="675" y="166"/>
                  </a:cubicBezTo>
                  <a:cubicBezTo>
                    <a:pt x="679" y="157"/>
                    <a:pt x="688" y="150"/>
                    <a:pt x="697" y="148"/>
                  </a:cubicBezTo>
                  <a:cubicBezTo>
                    <a:pt x="721" y="142"/>
                    <a:pt x="740" y="123"/>
                    <a:pt x="747" y="97"/>
                  </a:cubicBezTo>
                  <a:cubicBezTo>
                    <a:pt x="755" y="67"/>
                    <a:pt x="740" y="35"/>
                    <a:pt x="713" y="20"/>
                  </a:cubicBezTo>
                  <a:cubicBezTo>
                    <a:pt x="676" y="0"/>
                    <a:pt x="631" y="17"/>
                    <a:pt x="616" y="55"/>
                  </a:cubicBezTo>
                  <a:cubicBezTo>
                    <a:pt x="607" y="76"/>
                    <a:pt x="610" y="99"/>
                    <a:pt x="621" y="117"/>
                  </a:cubicBezTo>
                  <a:cubicBezTo>
                    <a:pt x="626" y="126"/>
                    <a:pt x="628" y="136"/>
                    <a:pt x="624" y="145"/>
                  </a:cubicBezTo>
                  <a:cubicBezTo>
                    <a:pt x="623" y="147"/>
                    <a:pt x="623" y="147"/>
                    <a:pt x="623" y="147"/>
                  </a:cubicBezTo>
                  <a:cubicBezTo>
                    <a:pt x="617" y="161"/>
                    <a:pt x="602" y="168"/>
                    <a:pt x="588" y="165"/>
                  </a:cubicBezTo>
                  <a:cubicBezTo>
                    <a:pt x="385" y="111"/>
                    <a:pt x="169" y="216"/>
                    <a:pt x="88" y="415"/>
                  </a:cubicBezTo>
                  <a:cubicBezTo>
                    <a:pt x="0" y="634"/>
                    <a:pt x="108" y="883"/>
                    <a:pt x="328" y="968"/>
                  </a:cubicBezTo>
                  <a:cubicBezTo>
                    <a:pt x="537" y="1049"/>
                    <a:pt x="777" y="950"/>
                    <a:pt x="867" y="745"/>
                  </a:cubicBezTo>
                  <a:cubicBezTo>
                    <a:pt x="957" y="543"/>
                    <a:pt x="875" y="310"/>
                    <a:pt x="688" y="205"/>
                  </a:cubicBezTo>
                  <a:close/>
                  <a:moveTo>
                    <a:pt x="666" y="116"/>
                  </a:moveTo>
                  <a:cubicBezTo>
                    <a:pt x="646" y="108"/>
                    <a:pt x="637" y="86"/>
                    <a:pt x="645" y="67"/>
                  </a:cubicBezTo>
                  <a:cubicBezTo>
                    <a:pt x="653" y="47"/>
                    <a:pt x="675" y="38"/>
                    <a:pt x="694" y="46"/>
                  </a:cubicBezTo>
                  <a:cubicBezTo>
                    <a:pt x="713" y="54"/>
                    <a:pt x="723" y="76"/>
                    <a:pt x="715" y="95"/>
                  </a:cubicBezTo>
                  <a:cubicBezTo>
                    <a:pt x="707" y="114"/>
                    <a:pt x="685" y="124"/>
                    <a:pt x="666" y="116"/>
                  </a:cubicBezTo>
                  <a:close/>
                </a:path>
              </a:pathLst>
            </a:custGeom>
            <a:solidFill>
              <a:srgbClr val="8C9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0000"/>
                </a:solidFill>
                <a:latin typeface="Century Gothic" panose="020B0502020202020204" pitchFamily="34" charset="0"/>
              </a:endParaRPr>
            </a:p>
          </p:txBody>
        </p:sp>
        <p:sp>
          <p:nvSpPr>
            <p:cNvPr id="84" name="Freeform 61"/>
            <p:cNvSpPr>
              <a:spLocks noEditPoints="1"/>
            </p:cNvSpPr>
            <p:nvPr/>
          </p:nvSpPr>
          <p:spPr bwMode="auto">
            <a:xfrm>
              <a:off x="5038528" y="5171514"/>
              <a:ext cx="1701778" cy="1875962"/>
            </a:xfrm>
            <a:custGeom>
              <a:avLst/>
              <a:gdLst>
                <a:gd name="T0" fmla="*/ 868 w 949"/>
                <a:gd name="T1" fmla="*/ 412 h 1047"/>
                <a:gd name="T2" fmla="*/ 360 w 949"/>
                <a:gd name="T3" fmla="*/ 157 h 1047"/>
                <a:gd name="T4" fmla="*/ 323 w 949"/>
                <a:gd name="T5" fmla="*/ 139 h 1047"/>
                <a:gd name="T6" fmla="*/ 323 w 949"/>
                <a:gd name="T7" fmla="*/ 139 h 1047"/>
                <a:gd name="T8" fmla="*/ 325 w 949"/>
                <a:gd name="T9" fmla="*/ 110 h 1047"/>
                <a:gd name="T10" fmla="*/ 325 w 949"/>
                <a:gd name="T11" fmla="*/ 39 h 1047"/>
                <a:gd name="T12" fmla="*/ 246 w 949"/>
                <a:gd name="T13" fmla="*/ 9 h 1047"/>
                <a:gd name="T14" fmla="*/ 202 w 949"/>
                <a:gd name="T15" fmla="*/ 102 h 1047"/>
                <a:gd name="T16" fmla="*/ 250 w 949"/>
                <a:gd name="T17" fmla="*/ 142 h 1047"/>
                <a:gd name="T18" fmla="*/ 271 w 949"/>
                <a:gd name="T19" fmla="*/ 160 h 1047"/>
                <a:gd name="T20" fmla="*/ 272 w 949"/>
                <a:gd name="T21" fmla="*/ 162 h 1047"/>
                <a:gd name="T22" fmla="*/ 260 w 949"/>
                <a:gd name="T23" fmla="*/ 200 h 1047"/>
                <a:gd name="T24" fmla="*/ 84 w 949"/>
                <a:gd name="T25" fmla="*/ 730 h 1047"/>
                <a:gd name="T26" fmla="*/ 645 w 949"/>
                <a:gd name="T27" fmla="*/ 951 h 1047"/>
                <a:gd name="T28" fmla="*/ 868 w 949"/>
                <a:gd name="T29" fmla="*/ 412 h 1047"/>
                <a:gd name="T30" fmla="*/ 280 w 949"/>
                <a:gd name="T31" fmla="*/ 110 h 1047"/>
                <a:gd name="T32" fmla="*/ 231 w 949"/>
                <a:gd name="T33" fmla="*/ 90 h 1047"/>
                <a:gd name="T34" fmla="*/ 251 w 949"/>
                <a:gd name="T35" fmla="*/ 40 h 1047"/>
                <a:gd name="T36" fmla="*/ 301 w 949"/>
                <a:gd name="T37" fmla="*/ 60 h 1047"/>
                <a:gd name="T38" fmla="*/ 280 w 949"/>
                <a:gd name="T39" fmla="*/ 110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9" h="1047">
                  <a:moveTo>
                    <a:pt x="868" y="412"/>
                  </a:moveTo>
                  <a:cubicBezTo>
                    <a:pt x="788" y="206"/>
                    <a:pt x="566" y="99"/>
                    <a:pt x="360" y="157"/>
                  </a:cubicBezTo>
                  <a:cubicBezTo>
                    <a:pt x="345" y="161"/>
                    <a:pt x="329" y="154"/>
                    <a:pt x="323" y="139"/>
                  </a:cubicBezTo>
                  <a:cubicBezTo>
                    <a:pt x="323" y="139"/>
                    <a:pt x="323" y="139"/>
                    <a:pt x="323" y="139"/>
                  </a:cubicBezTo>
                  <a:cubicBezTo>
                    <a:pt x="319" y="129"/>
                    <a:pt x="320" y="119"/>
                    <a:pt x="325" y="110"/>
                  </a:cubicBezTo>
                  <a:cubicBezTo>
                    <a:pt x="337" y="89"/>
                    <a:pt x="339" y="62"/>
                    <a:pt x="325" y="39"/>
                  </a:cubicBezTo>
                  <a:cubicBezTo>
                    <a:pt x="309" y="13"/>
                    <a:pt x="276" y="0"/>
                    <a:pt x="246" y="9"/>
                  </a:cubicBezTo>
                  <a:cubicBezTo>
                    <a:pt x="206" y="21"/>
                    <a:pt x="186" y="65"/>
                    <a:pt x="202" y="102"/>
                  </a:cubicBezTo>
                  <a:cubicBezTo>
                    <a:pt x="211" y="123"/>
                    <a:pt x="229" y="138"/>
                    <a:pt x="250" y="142"/>
                  </a:cubicBezTo>
                  <a:cubicBezTo>
                    <a:pt x="259" y="145"/>
                    <a:pt x="267" y="151"/>
                    <a:pt x="271" y="160"/>
                  </a:cubicBezTo>
                  <a:cubicBezTo>
                    <a:pt x="272" y="162"/>
                    <a:pt x="272" y="162"/>
                    <a:pt x="272" y="162"/>
                  </a:cubicBezTo>
                  <a:cubicBezTo>
                    <a:pt x="278" y="176"/>
                    <a:pt x="273" y="192"/>
                    <a:pt x="260" y="200"/>
                  </a:cubicBezTo>
                  <a:cubicBezTo>
                    <a:pt x="78" y="305"/>
                    <a:pt x="0" y="532"/>
                    <a:pt x="84" y="730"/>
                  </a:cubicBezTo>
                  <a:cubicBezTo>
                    <a:pt x="176" y="947"/>
                    <a:pt x="428" y="1047"/>
                    <a:pt x="645" y="951"/>
                  </a:cubicBezTo>
                  <a:cubicBezTo>
                    <a:pt x="850" y="861"/>
                    <a:pt x="949" y="622"/>
                    <a:pt x="868" y="412"/>
                  </a:cubicBezTo>
                  <a:close/>
                  <a:moveTo>
                    <a:pt x="280" y="110"/>
                  </a:moveTo>
                  <a:cubicBezTo>
                    <a:pt x="261" y="118"/>
                    <a:pt x="239" y="109"/>
                    <a:pt x="231" y="90"/>
                  </a:cubicBezTo>
                  <a:cubicBezTo>
                    <a:pt x="223" y="71"/>
                    <a:pt x="232" y="48"/>
                    <a:pt x="251" y="40"/>
                  </a:cubicBezTo>
                  <a:cubicBezTo>
                    <a:pt x="270" y="32"/>
                    <a:pt x="292" y="41"/>
                    <a:pt x="301" y="60"/>
                  </a:cubicBezTo>
                  <a:cubicBezTo>
                    <a:pt x="309" y="80"/>
                    <a:pt x="300" y="102"/>
                    <a:pt x="280" y="110"/>
                  </a:cubicBezTo>
                  <a:close/>
                </a:path>
              </a:pathLst>
            </a:custGeom>
            <a:solidFill>
              <a:srgbClr val="C29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lnSpc>
                  <a:spcPct val="105000"/>
                </a:lnSpc>
              </a:pPr>
              <a:endParaRPr lang="en-GB" sz="1975" dirty="0">
                <a:solidFill>
                  <a:srgbClr val="FFFFFF"/>
                </a:solidFill>
                <a:latin typeface="Century Gothic" panose="020B0502020202020204" pitchFamily="34" charset="0"/>
              </a:endParaRPr>
            </a:p>
          </p:txBody>
        </p:sp>
        <p:sp>
          <p:nvSpPr>
            <p:cNvPr id="86" name="Freeform 63"/>
            <p:cNvSpPr>
              <a:spLocks noEditPoints="1"/>
            </p:cNvSpPr>
            <p:nvPr/>
          </p:nvSpPr>
          <p:spPr bwMode="auto">
            <a:xfrm>
              <a:off x="6047053" y="4121184"/>
              <a:ext cx="1881187" cy="1715713"/>
            </a:xfrm>
            <a:custGeom>
              <a:avLst/>
              <a:gdLst>
                <a:gd name="T0" fmla="*/ 968 w 1049"/>
                <a:gd name="T1" fmla="*/ 629 h 957"/>
                <a:gd name="T2" fmla="*/ 745 w 1049"/>
                <a:gd name="T3" fmla="*/ 90 h 957"/>
                <a:gd name="T4" fmla="*/ 205 w 1049"/>
                <a:gd name="T5" fmla="*/ 269 h 957"/>
                <a:gd name="T6" fmla="*/ 167 w 1049"/>
                <a:gd name="T7" fmla="*/ 282 h 957"/>
                <a:gd name="T8" fmla="*/ 166 w 1049"/>
                <a:gd name="T9" fmla="*/ 282 h 957"/>
                <a:gd name="T10" fmla="*/ 147 w 1049"/>
                <a:gd name="T11" fmla="*/ 260 h 957"/>
                <a:gd name="T12" fmla="*/ 97 w 1049"/>
                <a:gd name="T13" fmla="*/ 210 h 957"/>
                <a:gd name="T14" fmla="*/ 20 w 1049"/>
                <a:gd name="T15" fmla="*/ 244 h 957"/>
                <a:gd name="T16" fmla="*/ 55 w 1049"/>
                <a:gd name="T17" fmla="*/ 342 h 957"/>
                <a:gd name="T18" fmla="*/ 117 w 1049"/>
                <a:gd name="T19" fmla="*/ 336 h 957"/>
                <a:gd name="T20" fmla="*/ 144 w 1049"/>
                <a:gd name="T21" fmla="*/ 333 h 957"/>
                <a:gd name="T22" fmla="*/ 147 w 1049"/>
                <a:gd name="T23" fmla="*/ 334 h 957"/>
                <a:gd name="T24" fmla="*/ 164 w 1049"/>
                <a:gd name="T25" fmla="*/ 370 h 957"/>
                <a:gd name="T26" fmla="*/ 415 w 1049"/>
                <a:gd name="T27" fmla="*/ 869 h 957"/>
                <a:gd name="T28" fmla="*/ 968 w 1049"/>
                <a:gd name="T29" fmla="*/ 629 h 957"/>
                <a:gd name="T30" fmla="*/ 66 w 1049"/>
                <a:gd name="T31" fmla="*/ 313 h 957"/>
                <a:gd name="T32" fmla="*/ 45 w 1049"/>
                <a:gd name="T33" fmla="*/ 263 h 957"/>
                <a:gd name="T34" fmla="*/ 95 w 1049"/>
                <a:gd name="T35" fmla="*/ 242 h 957"/>
                <a:gd name="T36" fmla="*/ 116 w 1049"/>
                <a:gd name="T37" fmla="*/ 292 h 957"/>
                <a:gd name="T38" fmla="*/ 66 w 1049"/>
                <a:gd name="T39" fmla="*/ 313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9" h="957">
                  <a:moveTo>
                    <a:pt x="968" y="629"/>
                  </a:moveTo>
                  <a:cubicBezTo>
                    <a:pt x="1049" y="420"/>
                    <a:pt x="950" y="181"/>
                    <a:pt x="745" y="90"/>
                  </a:cubicBezTo>
                  <a:cubicBezTo>
                    <a:pt x="542" y="0"/>
                    <a:pt x="310" y="82"/>
                    <a:pt x="205" y="269"/>
                  </a:cubicBezTo>
                  <a:cubicBezTo>
                    <a:pt x="197" y="283"/>
                    <a:pt x="181" y="288"/>
                    <a:pt x="167" y="282"/>
                  </a:cubicBezTo>
                  <a:cubicBezTo>
                    <a:pt x="166" y="282"/>
                    <a:pt x="166" y="282"/>
                    <a:pt x="166" y="282"/>
                  </a:cubicBezTo>
                  <a:cubicBezTo>
                    <a:pt x="157" y="278"/>
                    <a:pt x="150" y="270"/>
                    <a:pt x="147" y="260"/>
                  </a:cubicBezTo>
                  <a:cubicBezTo>
                    <a:pt x="141" y="237"/>
                    <a:pt x="123" y="217"/>
                    <a:pt x="97" y="210"/>
                  </a:cubicBezTo>
                  <a:cubicBezTo>
                    <a:pt x="67" y="203"/>
                    <a:pt x="35" y="217"/>
                    <a:pt x="20" y="244"/>
                  </a:cubicBezTo>
                  <a:cubicBezTo>
                    <a:pt x="0" y="281"/>
                    <a:pt x="17" y="326"/>
                    <a:pt x="55" y="342"/>
                  </a:cubicBezTo>
                  <a:cubicBezTo>
                    <a:pt x="76" y="350"/>
                    <a:pt x="99" y="347"/>
                    <a:pt x="117" y="336"/>
                  </a:cubicBezTo>
                  <a:cubicBezTo>
                    <a:pt x="125" y="331"/>
                    <a:pt x="135" y="330"/>
                    <a:pt x="144" y="333"/>
                  </a:cubicBezTo>
                  <a:cubicBezTo>
                    <a:pt x="147" y="334"/>
                    <a:pt x="147" y="334"/>
                    <a:pt x="147" y="334"/>
                  </a:cubicBezTo>
                  <a:cubicBezTo>
                    <a:pt x="161" y="340"/>
                    <a:pt x="168" y="355"/>
                    <a:pt x="164" y="370"/>
                  </a:cubicBezTo>
                  <a:cubicBezTo>
                    <a:pt x="111" y="573"/>
                    <a:pt x="216" y="788"/>
                    <a:pt x="415" y="869"/>
                  </a:cubicBezTo>
                  <a:cubicBezTo>
                    <a:pt x="634" y="957"/>
                    <a:pt x="883" y="850"/>
                    <a:pt x="968" y="629"/>
                  </a:cubicBezTo>
                  <a:close/>
                  <a:moveTo>
                    <a:pt x="66" y="313"/>
                  </a:moveTo>
                  <a:cubicBezTo>
                    <a:pt x="47" y="305"/>
                    <a:pt x="38" y="283"/>
                    <a:pt x="45" y="263"/>
                  </a:cubicBezTo>
                  <a:cubicBezTo>
                    <a:pt x="53" y="244"/>
                    <a:pt x="75" y="235"/>
                    <a:pt x="95" y="242"/>
                  </a:cubicBezTo>
                  <a:cubicBezTo>
                    <a:pt x="114" y="250"/>
                    <a:pt x="124" y="272"/>
                    <a:pt x="116" y="292"/>
                  </a:cubicBezTo>
                  <a:cubicBezTo>
                    <a:pt x="108" y="311"/>
                    <a:pt x="86" y="321"/>
                    <a:pt x="66" y="313"/>
                  </a:cubicBezTo>
                  <a:close/>
                </a:path>
              </a:pathLst>
            </a:custGeom>
            <a:solidFill>
              <a:srgbClr val="C29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latin typeface="Century Gothic" panose="020B0502020202020204" pitchFamily="34" charset="0"/>
              </a:endParaRPr>
            </a:p>
          </p:txBody>
        </p:sp>
        <p:sp>
          <p:nvSpPr>
            <p:cNvPr id="88" name="Freeform 65"/>
            <p:cNvSpPr>
              <a:spLocks noEditPoints="1"/>
            </p:cNvSpPr>
            <p:nvPr/>
          </p:nvSpPr>
          <p:spPr bwMode="auto">
            <a:xfrm>
              <a:off x="6048795" y="2428115"/>
              <a:ext cx="1877704" cy="1703520"/>
            </a:xfrm>
            <a:custGeom>
              <a:avLst/>
              <a:gdLst>
                <a:gd name="T0" fmla="*/ 951 w 1047"/>
                <a:gd name="T1" fmla="*/ 305 h 950"/>
                <a:gd name="T2" fmla="*/ 412 w 1047"/>
                <a:gd name="T3" fmla="*/ 81 h 950"/>
                <a:gd name="T4" fmla="*/ 157 w 1047"/>
                <a:gd name="T5" fmla="*/ 590 h 950"/>
                <a:gd name="T6" fmla="*/ 139 w 1047"/>
                <a:gd name="T7" fmla="*/ 626 h 950"/>
                <a:gd name="T8" fmla="*/ 138 w 1047"/>
                <a:gd name="T9" fmla="*/ 626 h 950"/>
                <a:gd name="T10" fmla="*/ 110 w 1047"/>
                <a:gd name="T11" fmla="*/ 624 h 950"/>
                <a:gd name="T12" fmla="*/ 39 w 1047"/>
                <a:gd name="T13" fmla="*/ 625 h 950"/>
                <a:gd name="T14" fmla="*/ 9 w 1047"/>
                <a:gd name="T15" fmla="*/ 703 h 950"/>
                <a:gd name="T16" fmla="*/ 102 w 1047"/>
                <a:gd name="T17" fmla="*/ 747 h 950"/>
                <a:gd name="T18" fmla="*/ 142 w 1047"/>
                <a:gd name="T19" fmla="*/ 699 h 950"/>
                <a:gd name="T20" fmla="*/ 159 w 1047"/>
                <a:gd name="T21" fmla="*/ 678 h 950"/>
                <a:gd name="T22" fmla="*/ 162 w 1047"/>
                <a:gd name="T23" fmla="*/ 677 h 950"/>
                <a:gd name="T24" fmla="*/ 199 w 1047"/>
                <a:gd name="T25" fmla="*/ 690 h 950"/>
                <a:gd name="T26" fmla="*/ 730 w 1047"/>
                <a:gd name="T27" fmla="*/ 865 h 950"/>
                <a:gd name="T28" fmla="*/ 951 w 1047"/>
                <a:gd name="T29" fmla="*/ 305 h 950"/>
                <a:gd name="T30" fmla="*/ 90 w 1047"/>
                <a:gd name="T31" fmla="*/ 719 h 950"/>
                <a:gd name="T32" fmla="*/ 40 w 1047"/>
                <a:gd name="T33" fmla="*/ 699 h 950"/>
                <a:gd name="T34" fmla="*/ 60 w 1047"/>
                <a:gd name="T35" fmla="*/ 649 h 950"/>
                <a:gd name="T36" fmla="*/ 110 w 1047"/>
                <a:gd name="T37" fmla="*/ 669 h 950"/>
                <a:gd name="T38" fmla="*/ 90 w 1047"/>
                <a:gd name="T39" fmla="*/ 719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7" h="950">
                  <a:moveTo>
                    <a:pt x="951" y="305"/>
                  </a:moveTo>
                  <a:cubicBezTo>
                    <a:pt x="860" y="100"/>
                    <a:pt x="621" y="0"/>
                    <a:pt x="412" y="81"/>
                  </a:cubicBezTo>
                  <a:cubicBezTo>
                    <a:pt x="205" y="161"/>
                    <a:pt x="99" y="384"/>
                    <a:pt x="157" y="590"/>
                  </a:cubicBezTo>
                  <a:cubicBezTo>
                    <a:pt x="161" y="605"/>
                    <a:pt x="153" y="620"/>
                    <a:pt x="139" y="626"/>
                  </a:cubicBezTo>
                  <a:cubicBezTo>
                    <a:pt x="138" y="626"/>
                    <a:pt x="138" y="626"/>
                    <a:pt x="138" y="626"/>
                  </a:cubicBezTo>
                  <a:cubicBezTo>
                    <a:pt x="129" y="630"/>
                    <a:pt x="119" y="629"/>
                    <a:pt x="110" y="624"/>
                  </a:cubicBezTo>
                  <a:cubicBezTo>
                    <a:pt x="89" y="612"/>
                    <a:pt x="62" y="611"/>
                    <a:pt x="39" y="625"/>
                  </a:cubicBezTo>
                  <a:cubicBezTo>
                    <a:pt x="12" y="641"/>
                    <a:pt x="0" y="674"/>
                    <a:pt x="9" y="703"/>
                  </a:cubicBezTo>
                  <a:cubicBezTo>
                    <a:pt x="21" y="744"/>
                    <a:pt x="64" y="763"/>
                    <a:pt x="102" y="747"/>
                  </a:cubicBezTo>
                  <a:cubicBezTo>
                    <a:pt x="123" y="738"/>
                    <a:pt x="137" y="720"/>
                    <a:pt x="142" y="699"/>
                  </a:cubicBezTo>
                  <a:cubicBezTo>
                    <a:pt x="144" y="690"/>
                    <a:pt x="151" y="682"/>
                    <a:pt x="159" y="678"/>
                  </a:cubicBezTo>
                  <a:cubicBezTo>
                    <a:pt x="162" y="677"/>
                    <a:pt x="162" y="677"/>
                    <a:pt x="162" y="677"/>
                  </a:cubicBezTo>
                  <a:cubicBezTo>
                    <a:pt x="176" y="671"/>
                    <a:pt x="192" y="677"/>
                    <a:pt x="199" y="690"/>
                  </a:cubicBezTo>
                  <a:cubicBezTo>
                    <a:pt x="305" y="871"/>
                    <a:pt x="531" y="950"/>
                    <a:pt x="730" y="865"/>
                  </a:cubicBezTo>
                  <a:cubicBezTo>
                    <a:pt x="947" y="773"/>
                    <a:pt x="1047" y="521"/>
                    <a:pt x="951" y="305"/>
                  </a:cubicBezTo>
                  <a:close/>
                  <a:moveTo>
                    <a:pt x="90" y="719"/>
                  </a:moveTo>
                  <a:cubicBezTo>
                    <a:pt x="70" y="727"/>
                    <a:pt x="48" y="718"/>
                    <a:pt x="40" y="699"/>
                  </a:cubicBezTo>
                  <a:cubicBezTo>
                    <a:pt x="32" y="679"/>
                    <a:pt x="41" y="657"/>
                    <a:pt x="60" y="649"/>
                  </a:cubicBezTo>
                  <a:cubicBezTo>
                    <a:pt x="79" y="641"/>
                    <a:pt x="102" y="650"/>
                    <a:pt x="110" y="669"/>
                  </a:cubicBezTo>
                  <a:cubicBezTo>
                    <a:pt x="118" y="688"/>
                    <a:pt x="109" y="711"/>
                    <a:pt x="90" y="719"/>
                  </a:cubicBezTo>
                  <a:close/>
                </a:path>
              </a:pathLst>
            </a:custGeom>
            <a:solidFill>
              <a:srgbClr val="C29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latin typeface="Century Gothic" panose="020B0502020202020204" pitchFamily="34" charset="0"/>
              </a:endParaRPr>
            </a:p>
          </p:txBody>
        </p:sp>
        <p:sp>
          <p:nvSpPr>
            <p:cNvPr id="91" name="Freeform 68"/>
            <p:cNvSpPr>
              <a:spLocks/>
            </p:cNvSpPr>
            <p:nvPr/>
          </p:nvSpPr>
          <p:spPr bwMode="auto">
            <a:xfrm>
              <a:off x="5201931" y="1372273"/>
              <a:ext cx="1435276" cy="1435276"/>
            </a:xfrm>
            <a:custGeom>
              <a:avLst/>
              <a:gdLst>
                <a:gd name="T0" fmla="*/ 728 w 801"/>
                <a:gd name="T1" fmla="*/ 533 h 801"/>
                <a:gd name="T2" fmla="*/ 268 w 801"/>
                <a:gd name="T3" fmla="*/ 728 h 801"/>
                <a:gd name="T4" fmla="*/ 73 w 801"/>
                <a:gd name="T5" fmla="*/ 269 h 801"/>
                <a:gd name="T6" fmla="*/ 533 w 801"/>
                <a:gd name="T7" fmla="*/ 73 h 801"/>
                <a:gd name="T8" fmla="*/ 728 w 801"/>
                <a:gd name="T9" fmla="*/ 533 h 801"/>
              </a:gdLst>
              <a:ahLst/>
              <a:cxnLst>
                <a:cxn ang="0">
                  <a:pos x="T0" y="T1"/>
                </a:cxn>
                <a:cxn ang="0">
                  <a:pos x="T2" y="T3"/>
                </a:cxn>
                <a:cxn ang="0">
                  <a:pos x="T4" y="T5"/>
                </a:cxn>
                <a:cxn ang="0">
                  <a:pos x="T6" y="T7"/>
                </a:cxn>
                <a:cxn ang="0">
                  <a:pos x="T8" y="T9"/>
                </a:cxn>
              </a:cxnLst>
              <a:rect l="0" t="0" r="r" b="b"/>
              <a:pathLst>
                <a:path w="801" h="801">
                  <a:moveTo>
                    <a:pt x="728" y="533"/>
                  </a:moveTo>
                  <a:cubicBezTo>
                    <a:pt x="655" y="714"/>
                    <a:pt x="449" y="801"/>
                    <a:pt x="268" y="728"/>
                  </a:cubicBezTo>
                  <a:cubicBezTo>
                    <a:pt x="87" y="655"/>
                    <a:pt x="0" y="449"/>
                    <a:pt x="73" y="269"/>
                  </a:cubicBezTo>
                  <a:cubicBezTo>
                    <a:pt x="146" y="88"/>
                    <a:pt x="352" y="0"/>
                    <a:pt x="533" y="73"/>
                  </a:cubicBezTo>
                  <a:cubicBezTo>
                    <a:pt x="714" y="146"/>
                    <a:pt x="801" y="352"/>
                    <a:pt x="728" y="533"/>
                  </a:cubicBezTo>
                  <a:close/>
                </a:path>
              </a:pathLst>
            </a:custGeom>
            <a:noFill/>
            <a:ln w="9525">
              <a:solidFill>
                <a:schemeClr val="accent2"/>
              </a:solidFill>
              <a:round/>
              <a:headEnd/>
              <a:tailEnd/>
            </a:ln>
          </p:spPr>
          <p:txBody>
            <a:bodyPr vert="horz" wrap="square" lIns="100330" tIns="50165" rIns="100330" bIns="50165" numCol="1" anchor="ctr" anchorCtr="0" compatLnSpc="1">
              <a:prstTxWarp prst="textNoShape">
                <a:avLst/>
              </a:prstTxWarp>
            </a:bodyPr>
            <a:lstStyle/>
            <a:p>
              <a:pPr algn="ctr" defTabSz="384068">
                <a:lnSpc>
                  <a:spcPct val="105000"/>
                </a:lnSpc>
                <a:spcBef>
                  <a:spcPct val="0"/>
                </a:spcBef>
              </a:pPr>
              <a:r>
                <a:rPr lang="en-US" sz="1097" b="1" dirty="0">
                  <a:solidFill>
                    <a:srgbClr val="FFFFFF"/>
                  </a:solidFill>
                </a:rPr>
                <a:t>Conocimientos T</a:t>
              </a:r>
              <a:r>
                <a:rPr lang="en-US" sz="1097" b="1" dirty="0" smtClean="0">
                  <a:solidFill>
                    <a:srgbClr val="FFFFFF"/>
                  </a:solidFill>
                </a:rPr>
                <a:t>écnicos</a:t>
              </a:r>
              <a:endParaRPr lang="en-US" sz="1097" b="1" dirty="0">
                <a:solidFill>
                  <a:srgbClr val="FFFFFF"/>
                </a:solidFill>
              </a:endParaRPr>
            </a:p>
          </p:txBody>
        </p:sp>
        <p:sp>
          <p:nvSpPr>
            <p:cNvPr id="92" name="Freeform 69"/>
            <p:cNvSpPr>
              <a:spLocks/>
            </p:cNvSpPr>
            <p:nvPr/>
          </p:nvSpPr>
          <p:spPr bwMode="auto">
            <a:xfrm>
              <a:off x="6343165" y="2562237"/>
              <a:ext cx="1435276" cy="1438760"/>
            </a:xfrm>
            <a:custGeom>
              <a:avLst/>
              <a:gdLst>
                <a:gd name="T0" fmla="*/ 728 w 801"/>
                <a:gd name="T1" fmla="*/ 533 h 802"/>
                <a:gd name="T2" fmla="*/ 268 w 801"/>
                <a:gd name="T3" fmla="*/ 729 h 802"/>
                <a:gd name="T4" fmla="*/ 73 w 801"/>
                <a:gd name="T5" fmla="*/ 269 h 802"/>
                <a:gd name="T6" fmla="*/ 533 w 801"/>
                <a:gd name="T7" fmla="*/ 73 h 802"/>
                <a:gd name="T8" fmla="*/ 728 w 801"/>
                <a:gd name="T9" fmla="*/ 533 h 802"/>
              </a:gdLst>
              <a:ahLst/>
              <a:cxnLst>
                <a:cxn ang="0">
                  <a:pos x="T0" y="T1"/>
                </a:cxn>
                <a:cxn ang="0">
                  <a:pos x="T2" y="T3"/>
                </a:cxn>
                <a:cxn ang="0">
                  <a:pos x="T4" y="T5"/>
                </a:cxn>
                <a:cxn ang="0">
                  <a:pos x="T6" y="T7"/>
                </a:cxn>
                <a:cxn ang="0">
                  <a:pos x="T8" y="T9"/>
                </a:cxn>
              </a:cxnLst>
              <a:rect l="0" t="0" r="r" b="b"/>
              <a:pathLst>
                <a:path w="801" h="802">
                  <a:moveTo>
                    <a:pt x="728" y="533"/>
                  </a:moveTo>
                  <a:cubicBezTo>
                    <a:pt x="655" y="714"/>
                    <a:pt x="449" y="802"/>
                    <a:pt x="268" y="729"/>
                  </a:cubicBezTo>
                  <a:cubicBezTo>
                    <a:pt x="87" y="655"/>
                    <a:pt x="0" y="450"/>
                    <a:pt x="73" y="269"/>
                  </a:cubicBezTo>
                  <a:cubicBezTo>
                    <a:pt x="146" y="88"/>
                    <a:pt x="352" y="0"/>
                    <a:pt x="533" y="73"/>
                  </a:cubicBezTo>
                  <a:cubicBezTo>
                    <a:pt x="714" y="147"/>
                    <a:pt x="801" y="352"/>
                    <a:pt x="728" y="533"/>
                  </a:cubicBezTo>
                  <a:close/>
                </a:path>
              </a:pathLst>
            </a:custGeom>
            <a:noFill/>
            <a:ln w="9525">
              <a:solidFill>
                <a:schemeClr val="accent2"/>
              </a:solidFill>
              <a:round/>
              <a:headEnd/>
              <a:tailEnd/>
            </a:ln>
          </p:spPr>
          <p:txBody>
            <a:bodyPr vert="horz" wrap="square" lIns="100330" tIns="50165" rIns="100330" bIns="50165" numCol="1" anchor="ctr" anchorCtr="0" compatLnSpc="1">
              <a:prstTxWarp prst="textNoShape">
                <a:avLst/>
              </a:prstTxWarp>
            </a:bodyPr>
            <a:lstStyle/>
            <a:p>
              <a:pPr algn="ctr" defTabSz="384068">
                <a:lnSpc>
                  <a:spcPct val="105000"/>
                </a:lnSpc>
                <a:spcBef>
                  <a:spcPct val="0"/>
                </a:spcBef>
              </a:pPr>
              <a:r>
                <a:rPr lang="en-GB" sz="1097" b="1" dirty="0">
                  <a:solidFill>
                    <a:srgbClr val="FFFFFF"/>
                  </a:solidFill>
                </a:rPr>
                <a:t>Conocimientos Generales</a:t>
              </a:r>
              <a:endParaRPr lang="en-US" sz="1097" b="1" dirty="0">
                <a:solidFill>
                  <a:srgbClr val="FFFFFF"/>
                </a:solidFill>
              </a:endParaRPr>
            </a:p>
          </p:txBody>
        </p:sp>
        <p:sp>
          <p:nvSpPr>
            <p:cNvPr id="93" name="Freeform 70"/>
            <p:cNvSpPr>
              <a:spLocks/>
            </p:cNvSpPr>
            <p:nvPr/>
          </p:nvSpPr>
          <p:spPr bwMode="auto">
            <a:xfrm>
              <a:off x="3476096" y="5481561"/>
              <a:ext cx="1435276" cy="1435276"/>
            </a:xfrm>
            <a:custGeom>
              <a:avLst/>
              <a:gdLst>
                <a:gd name="T0" fmla="*/ 728 w 801"/>
                <a:gd name="T1" fmla="*/ 533 h 801"/>
                <a:gd name="T2" fmla="*/ 268 w 801"/>
                <a:gd name="T3" fmla="*/ 728 h 801"/>
                <a:gd name="T4" fmla="*/ 73 w 801"/>
                <a:gd name="T5" fmla="*/ 268 h 801"/>
                <a:gd name="T6" fmla="*/ 533 w 801"/>
                <a:gd name="T7" fmla="*/ 73 h 801"/>
                <a:gd name="T8" fmla="*/ 728 w 801"/>
                <a:gd name="T9" fmla="*/ 533 h 801"/>
              </a:gdLst>
              <a:ahLst/>
              <a:cxnLst>
                <a:cxn ang="0">
                  <a:pos x="T0" y="T1"/>
                </a:cxn>
                <a:cxn ang="0">
                  <a:pos x="T2" y="T3"/>
                </a:cxn>
                <a:cxn ang="0">
                  <a:pos x="T4" y="T5"/>
                </a:cxn>
                <a:cxn ang="0">
                  <a:pos x="T6" y="T7"/>
                </a:cxn>
                <a:cxn ang="0">
                  <a:pos x="T8" y="T9"/>
                </a:cxn>
              </a:cxnLst>
              <a:rect l="0" t="0" r="r" b="b"/>
              <a:pathLst>
                <a:path w="801" h="801">
                  <a:moveTo>
                    <a:pt x="728" y="533"/>
                  </a:moveTo>
                  <a:cubicBezTo>
                    <a:pt x="655" y="714"/>
                    <a:pt x="449" y="801"/>
                    <a:pt x="268" y="728"/>
                  </a:cubicBezTo>
                  <a:cubicBezTo>
                    <a:pt x="87" y="655"/>
                    <a:pt x="0" y="449"/>
                    <a:pt x="73" y="268"/>
                  </a:cubicBezTo>
                  <a:cubicBezTo>
                    <a:pt x="146" y="87"/>
                    <a:pt x="352" y="0"/>
                    <a:pt x="533" y="73"/>
                  </a:cubicBezTo>
                  <a:cubicBezTo>
                    <a:pt x="714" y="146"/>
                    <a:pt x="801" y="352"/>
                    <a:pt x="728" y="533"/>
                  </a:cubicBezTo>
                  <a:close/>
                </a:path>
              </a:pathLst>
            </a:custGeom>
            <a:noFill/>
            <a:ln>
              <a:solidFill>
                <a:schemeClr val="accent1"/>
              </a:solidFill>
            </a:ln>
          </p:spPr>
          <p:txBody>
            <a:bodyPr vert="horz" wrap="square" lIns="100330" tIns="50165" rIns="100330" bIns="50165" numCol="1" anchor="ctr" anchorCtr="0" compatLnSpc="1">
              <a:prstTxWarp prst="textNoShape">
                <a:avLst/>
              </a:prstTxWarp>
            </a:bodyPr>
            <a:lstStyle/>
            <a:p>
              <a:pPr algn="ctr" defTabSz="365779">
                <a:lnSpc>
                  <a:spcPct val="105000"/>
                </a:lnSpc>
                <a:spcBef>
                  <a:spcPct val="0"/>
                </a:spcBef>
              </a:pPr>
              <a:r>
                <a:rPr lang="en-GB" sz="1097" b="1" dirty="0" smtClean="0">
                  <a:solidFill>
                    <a:srgbClr val="FFFFFF"/>
                  </a:solidFill>
                </a:rPr>
                <a:t>Incentivos</a:t>
              </a:r>
              <a:endParaRPr lang="en-US" sz="1097" b="1" dirty="0">
                <a:solidFill>
                  <a:srgbClr val="FFFFFF"/>
                </a:solidFill>
              </a:endParaRPr>
            </a:p>
          </p:txBody>
        </p:sp>
        <p:sp>
          <p:nvSpPr>
            <p:cNvPr id="94" name="Freeform 71"/>
            <p:cNvSpPr>
              <a:spLocks/>
            </p:cNvSpPr>
            <p:nvPr/>
          </p:nvSpPr>
          <p:spPr bwMode="auto">
            <a:xfrm>
              <a:off x="2265518" y="4291885"/>
              <a:ext cx="1437019" cy="1437019"/>
            </a:xfrm>
            <a:custGeom>
              <a:avLst/>
              <a:gdLst>
                <a:gd name="T0" fmla="*/ 729 w 802"/>
                <a:gd name="T1" fmla="*/ 533 h 801"/>
                <a:gd name="T2" fmla="*/ 269 w 802"/>
                <a:gd name="T3" fmla="*/ 728 h 801"/>
                <a:gd name="T4" fmla="*/ 74 w 802"/>
                <a:gd name="T5" fmla="*/ 268 h 801"/>
                <a:gd name="T6" fmla="*/ 533 w 802"/>
                <a:gd name="T7" fmla="*/ 73 h 801"/>
                <a:gd name="T8" fmla="*/ 729 w 802"/>
                <a:gd name="T9" fmla="*/ 533 h 801"/>
              </a:gdLst>
              <a:ahLst/>
              <a:cxnLst>
                <a:cxn ang="0">
                  <a:pos x="T0" y="T1"/>
                </a:cxn>
                <a:cxn ang="0">
                  <a:pos x="T2" y="T3"/>
                </a:cxn>
                <a:cxn ang="0">
                  <a:pos x="T4" y="T5"/>
                </a:cxn>
                <a:cxn ang="0">
                  <a:pos x="T6" y="T7"/>
                </a:cxn>
                <a:cxn ang="0">
                  <a:pos x="T8" y="T9"/>
                </a:cxn>
              </a:cxnLst>
              <a:rect l="0" t="0" r="r" b="b"/>
              <a:pathLst>
                <a:path w="802" h="801">
                  <a:moveTo>
                    <a:pt x="729" y="533"/>
                  </a:moveTo>
                  <a:cubicBezTo>
                    <a:pt x="656" y="714"/>
                    <a:pt x="450" y="801"/>
                    <a:pt x="269" y="728"/>
                  </a:cubicBezTo>
                  <a:cubicBezTo>
                    <a:pt x="88" y="655"/>
                    <a:pt x="0" y="449"/>
                    <a:pt x="74" y="268"/>
                  </a:cubicBezTo>
                  <a:cubicBezTo>
                    <a:pt x="147" y="87"/>
                    <a:pt x="353" y="0"/>
                    <a:pt x="533" y="73"/>
                  </a:cubicBezTo>
                  <a:cubicBezTo>
                    <a:pt x="714" y="146"/>
                    <a:pt x="802" y="352"/>
                    <a:pt x="729" y="533"/>
                  </a:cubicBezTo>
                  <a:close/>
                </a:path>
              </a:pathLst>
            </a:custGeom>
            <a:noFill/>
            <a:ln>
              <a:solidFill>
                <a:schemeClr val="accent1"/>
              </a:solidFill>
            </a:ln>
          </p:spPr>
          <p:txBody>
            <a:bodyPr vert="horz" wrap="square" lIns="100330" tIns="50165" rIns="100330" bIns="50165" numCol="1" anchor="ctr" anchorCtr="0" compatLnSpc="1">
              <a:prstTxWarp prst="textNoShape">
                <a:avLst/>
              </a:prstTxWarp>
            </a:bodyPr>
            <a:lstStyle/>
            <a:p>
              <a:pPr algn="ctr" defTabSz="329202">
                <a:lnSpc>
                  <a:spcPct val="105000"/>
                </a:lnSpc>
                <a:spcBef>
                  <a:spcPct val="0"/>
                </a:spcBef>
              </a:pPr>
              <a:r>
                <a:rPr lang="en-GB" sz="1097" b="1" dirty="0" err="1" smtClean="0">
                  <a:solidFill>
                    <a:srgbClr val="FFFFFF"/>
                  </a:solidFill>
                </a:rPr>
                <a:t>Competencia</a:t>
              </a:r>
              <a:r>
                <a:rPr lang="en-GB" sz="1097" b="1" dirty="0" smtClean="0">
                  <a:solidFill>
                    <a:srgbClr val="FFFFFF"/>
                  </a:solidFill>
                </a:rPr>
                <a:t> </a:t>
              </a:r>
              <a:r>
                <a:rPr lang="en-GB" sz="1097" b="1" dirty="0">
                  <a:solidFill>
                    <a:srgbClr val="FFFFFF"/>
                  </a:solidFill>
                </a:rPr>
                <a:t>e I</a:t>
              </a:r>
              <a:r>
                <a:rPr lang="en-GB" sz="1097" b="1" dirty="0" smtClean="0">
                  <a:solidFill>
                    <a:srgbClr val="FFFFFF"/>
                  </a:solidFill>
                </a:rPr>
                <a:t>ntrusismo</a:t>
              </a:r>
              <a:endParaRPr lang="en-US" sz="1097" b="1" dirty="0">
                <a:solidFill>
                  <a:srgbClr val="FFFFFF"/>
                </a:solidFill>
              </a:endParaRPr>
            </a:p>
          </p:txBody>
        </p:sp>
        <p:sp>
          <p:nvSpPr>
            <p:cNvPr id="95" name="Freeform 72"/>
            <p:cNvSpPr>
              <a:spLocks/>
            </p:cNvSpPr>
            <p:nvPr/>
          </p:nvSpPr>
          <p:spPr bwMode="auto">
            <a:xfrm>
              <a:off x="2251583" y="2598815"/>
              <a:ext cx="1437019" cy="1435276"/>
            </a:xfrm>
            <a:custGeom>
              <a:avLst/>
              <a:gdLst>
                <a:gd name="T0" fmla="*/ 728 w 802"/>
                <a:gd name="T1" fmla="*/ 533 h 801"/>
                <a:gd name="T2" fmla="*/ 269 w 802"/>
                <a:gd name="T3" fmla="*/ 728 h 801"/>
                <a:gd name="T4" fmla="*/ 73 w 802"/>
                <a:gd name="T5" fmla="*/ 268 h 801"/>
                <a:gd name="T6" fmla="*/ 533 w 802"/>
                <a:gd name="T7" fmla="*/ 73 h 801"/>
                <a:gd name="T8" fmla="*/ 728 w 802"/>
                <a:gd name="T9" fmla="*/ 533 h 801"/>
              </a:gdLst>
              <a:ahLst/>
              <a:cxnLst>
                <a:cxn ang="0">
                  <a:pos x="T0" y="T1"/>
                </a:cxn>
                <a:cxn ang="0">
                  <a:pos x="T2" y="T3"/>
                </a:cxn>
                <a:cxn ang="0">
                  <a:pos x="T4" y="T5"/>
                </a:cxn>
                <a:cxn ang="0">
                  <a:pos x="T6" y="T7"/>
                </a:cxn>
                <a:cxn ang="0">
                  <a:pos x="T8" y="T9"/>
                </a:cxn>
              </a:cxnLst>
              <a:rect l="0" t="0" r="r" b="b"/>
              <a:pathLst>
                <a:path w="802" h="801">
                  <a:moveTo>
                    <a:pt x="728" y="533"/>
                  </a:moveTo>
                  <a:cubicBezTo>
                    <a:pt x="655" y="714"/>
                    <a:pt x="449" y="801"/>
                    <a:pt x="269" y="728"/>
                  </a:cubicBezTo>
                  <a:cubicBezTo>
                    <a:pt x="88" y="655"/>
                    <a:pt x="0" y="449"/>
                    <a:pt x="73" y="268"/>
                  </a:cubicBezTo>
                  <a:cubicBezTo>
                    <a:pt x="146" y="87"/>
                    <a:pt x="352" y="0"/>
                    <a:pt x="533" y="73"/>
                  </a:cubicBezTo>
                  <a:cubicBezTo>
                    <a:pt x="714" y="146"/>
                    <a:pt x="802" y="352"/>
                    <a:pt x="728" y="533"/>
                  </a:cubicBezTo>
                  <a:close/>
                </a:path>
              </a:pathLst>
            </a:custGeom>
            <a:noFill/>
            <a:ln>
              <a:solidFill>
                <a:schemeClr val="accent1"/>
              </a:solidFill>
            </a:ln>
          </p:spPr>
          <p:txBody>
            <a:bodyPr vert="horz" wrap="square" lIns="100330" tIns="50165" rIns="100330" bIns="50165" numCol="1" anchor="ctr" anchorCtr="0" compatLnSpc="1">
              <a:prstTxWarp prst="textNoShape">
                <a:avLst/>
              </a:prstTxWarp>
            </a:bodyPr>
            <a:lstStyle/>
            <a:p>
              <a:pPr algn="ctr" defTabSz="384068">
                <a:lnSpc>
                  <a:spcPct val="105000"/>
                </a:lnSpc>
                <a:spcBef>
                  <a:spcPct val="0"/>
                </a:spcBef>
              </a:pPr>
              <a:r>
                <a:rPr lang="en-GB" sz="1097" b="1" dirty="0" smtClean="0">
                  <a:solidFill>
                    <a:srgbClr val="FFFFFF"/>
                  </a:solidFill>
                </a:rPr>
                <a:t>Tipología </a:t>
              </a:r>
              <a:endParaRPr lang="en-GB" sz="1097" b="1" dirty="0">
                <a:solidFill>
                  <a:srgbClr val="FFFFFF"/>
                </a:solidFill>
              </a:endParaRPr>
            </a:p>
            <a:p>
              <a:pPr algn="ctr" defTabSz="384068">
                <a:lnSpc>
                  <a:spcPct val="105000"/>
                </a:lnSpc>
                <a:spcBef>
                  <a:spcPct val="0"/>
                </a:spcBef>
              </a:pPr>
              <a:r>
                <a:rPr lang="en-GB" sz="1097" b="1" dirty="0">
                  <a:solidFill>
                    <a:srgbClr val="FFFFFF"/>
                  </a:solidFill>
                </a:rPr>
                <a:t>Empresarial</a:t>
              </a:r>
              <a:endParaRPr lang="en-US" sz="1097" b="1" dirty="0">
                <a:solidFill>
                  <a:srgbClr val="FFFFFF"/>
                </a:solidFill>
              </a:endParaRPr>
            </a:p>
          </p:txBody>
        </p:sp>
        <p:sp>
          <p:nvSpPr>
            <p:cNvPr id="96" name="Freeform 73"/>
            <p:cNvSpPr>
              <a:spLocks/>
            </p:cNvSpPr>
            <p:nvPr/>
          </p:nvSpPr>
          <p:spPr bwMode="auto">
            <a:xfrm>
              <a:off x="3507934" y="1385302"/>
              <a:ext cx="1421343" cy="1435276"/>
            </a:xfrm>
            <a:custGeom>
              <a:avLst/>
              <a:gdLst>
                <a:gd name="T0" fmla="*/ 728 w 802"/>
                <a:gd name="T1" fmla="*/ 533 h 801"/>
                <a:gd name="T2" fmla="*/ 269 w 802"/>
                <a:gd name="T3" fmla="*/ 728 h 801"/>
                <a:gd name="T4" fmla="*/ 73 w 802"/>
                <a:gd name="T5" fmla="*/ 268 h 801"/>
                <a:gd name="T6" fmla="*/ 533 w 802"/>
                <a:gd name="T7" fmla="*/ 73 h 801"/>
                <a:gd name="T8" fmla="*/ 728 w 802"/>
                <a:gd name="T9" fmla="*/ 533 h 801"/>
              </a:gdLst>
              <a:ahLst/>
              <a:cxnLst>
                <a:cxn ang="0">
                  <a:pos x="T0" y="T1"/>
                </a:cxn>
                <a:cxn ang="0">
                  <a:pos x="T2" y="T3"/>
                </a:cxn>
                <a:cxn ang="0">
                  <a:pos x="T4" y="T5"/>
                </a:cxn>
                <a:cxn ang="0">
                  <a:pos x="T6" y="T7"/>
                </a:cxn>
                <a:cxn ang="0">
                  <a:pos x="T8" y="T9"/>
                </a:cxn>
              </a:cxnLst>
              <a:rect l="0" t="0" r="r" b="b"/>
              <a:pathLst>
                <a:path w="802" h="801">
                  <a:moveTo>
                    <a:pt x="728" y="533"/>
                  </a:moveTo>
                  <a:cubicBezTo>
                    <a:pt x="655" y="714"/>
                    <a:pt x="449" y="801"/>
                    <a:pt x="269" y="728"/>
                  </a:cubicBezTo>
                  <a:cubicBezTo>
                    <a:pt x="88" y="655"/>
                    <a:pt x="0" y="449"/>
                    <a:pt x="73" y="268"/>
                  </a:cubicBezTo>
                  <a:cubicBezTo>
                    <a:pt x="146" y="87"/>
                    <a:pt x="352" y="0"/>
                    <a:pt x="533" y="73"/>
                  </a:cubicBezTo>
                  <a:cubicBezTo>
                    <a:pt x="714" y="146"/>
                    <a:pt x="802" y="352"/>
                    <a:pt x="728" y="533"/>
                  </a:cubicBezTo>
                  <a:close/>
                </a:path>
              </a:pathLst>
            </a:custGeom>
            <a:noFill/>
            <a:ln>
              <a:solidFill>
                <a:schemeClr val="accent1"/>
              </a:solidFill>
            </a:ln>
          </p:spPr>
          <p:txBody>
            <a:bodyPr vert="horz" wrap="square" lIns="100330" tIns="50165" rIns="100330" bIns="50165" numCol="1" anchor="ctr" anchorCtr="0" compatLnSpc="1">
              <a:prstTxWarp prst="textNoShape">
                <a:avLst/>
              </a:prstTxWarp>
            </a:bodyPr>
            <a:lstStyle/>
            <a:p>
              <a:pPr algn="ctr" defTabSz="329202">
                <a:lnSpc>
                  <a:spcPct val="105000"/>
                </a:lnSpc>
                <a:spcBef>
                  <a:spcPct val="0"/>
                </a:spcBef>
              </a:pPr>
              <a:r>
                <a:rPr lang="en-GB" sz="1097" b="1" dirty="0">
                  <a:solidFill>
                    <a:srgbClr val="FFFFFF"/>
                  </a:solidFill>
                </a:rPr>
                <a:t>Entorno Macro</a:t>
              </a:r>
              <a:endParaRPr lang="en-US" sz="1097" b="1" dirty="0">
                <a:solidFill>
                  <a:srgbClr val="FFFFFF"/>
                </a:solidFill>
              </a:endParaRPr>
            </a:p>
          </p:txBody>
        </p:sp>
        <p:sp>
          <p:nvSpPr>
            <p:cNvPr id="97" name="Freeform 74"/>
            <p:cNvSpPr>
              <a:spLocks/>
            </p:cNvSpPr>
            <p:nvPr/>
          </p:nvSpPr>
          <p:spPr bwMode="auto">
            <a:xfrm>
              <a:off x="6358843" y="4257048"/>
              <a:ext cx="1435276" cy="1437019"/>
            </a:xfrm>
            <a:custGeom>
              <a:avLst/>
              <a:gdLst>
                <a:gd name="T0" fmla="*/ 728 w 801"/>
                <a:gd name="T1" fmla="*/ 533 h 802"/>
                <a:gd name="T2" fmla="*/ 268 w 801"/>
                <a:gd name="T3" fmla="*/ 729 h 802"/>
                <a:gd name="T4" fmla="*/ 73 w 801"/>
                <a:gd name="T5" fmla="*/ 269 h 802"/>
                <a:gd name="T6" fmla="*/ 533 w 801"/>
                <a:gd name="T7" fmla="*/ 73 h 802"/>
                <a:gd name="T8" fmla="*/ 728 w 801"/>
                <a:gd name="T9" fmla="*/ 533 h 802"/>
              </a:gdLst>
              <a:ahLst/>
              <a:cxnLst>
                <a:cxn ang="0">
                  <a:pos x="T0" y="T1"/>
                </a:cxn>
                <a:cxn ang="0">
                  <a:pos x="T2" y="T3"/>
                </a:cxn>
                <a:cxn ang="0">
                  <a:pos x="T4" y="T5"/>
                </a:cxn>
                <a:cxn ang="0">
                  <a:pos x="T6" y="T7"/>
                </a:cxn>
                <a:cxn ang="0">
                  <a:pos x="T8" y="T9"/>
                </a:cxn>
              </a:cxnLst>
              <a:rect l="0" t="0" r="r" b="b"/>
              <a:pathLst>
                <a:path w="801" h="802">
                  <a:moveTo>
                    <a:pt x="728" y="533"/>
                  </a:moveTo>
                  <a:cubicBezTo>
                    <a:pt x="655" y="714"/>
                    <a:pt x="449" y="802"/>
                    <a:pt x="268" y="729"/>
                  </a:cubicBezTo>
                  <a:cubicBezTo>
                    <a:pt x="87" y="655"/>
                    <a:pt x="0" y="450"/>
                    <a:pt x="73" y="269"/>
                  </a:cubicBezTo>
                  <a:cubicBezTo>
                    <a:pt x="146" y="88"/>
                    <a:pt x="352" y="0"/>
                    <a:pt x="533" y="73"/>
                  </a:cubicBezTo>
                  <a:cubicBezTo>
                    <a:pt x="713" y="147"/>
                    <a:pt x="801" y="352"/>
                    <a:pt x="728" y="533"/>
                  </a:cubicBezTo>
                  <a:close/>
                </a:path>
              </a:pathLst>
            </a:custGeom>
            <a:noFill/>
            <a:ln w="9525">
              <a:solidFill>
                <a:schemeClr val="accent2"/>
              </a:solidFill>
              <a:round/>
              <a:headEnd/>
              <a:tailEnd/>
            </a:ln>
          </p:spPr>
          <p:txBody>
            <a:bodyPr vert="horz" wrap="square" lIns="100330" tIns="50165" rIns="100330" bIns="50165" numCol="1" anchor="ctr" anchorCtr="0" compatLnSpc="1">
              <a:prstTxWarp prst="textNoShape">
                <a:avLst/>
              </a:prstTxWarp>
            </a:bodyPr>
            <a:lstStyle/>
            <a:p>
              <a:pPr algn="ctr" defTabSz="384068">
                <a:lnSpc>
                  <a:spcPct val="105000"/>
                </a:lnSpc>
                <a:spcBef>
                  <a:spcPct val="0"/>
                </a:spcBef>
              </a:pPr>
              <a:r>
                <a:rPr lang="en-GB" sz="1097" b="1" dirty="0">
                  <a:solidFill>
                    <a:srgbClr val="FFFFFF"/>
                  </a:solidFill>
                </a:rPr>
                <a:t>Competencias T</a:t>
              </a:r>
              <a:r>
                <a:rPr lang="en-GB" sz="1097" b="1" dirty="0" smtClean="0">
                  <a:solidFill>
                    <a:srgbClr val="FFFFFF"/>
                  </a:solidFill>
                </a:rPr>
                <a:t>ransversales</a:t>
              </a:r>
              <a:endParaRPr lang="en-US" sz="1097" b="1" dirty="0">
                <a:solidFill>
                  <a:srgbClr val="FFFFFF"/>
                </a:solidFill>
              </a:endParaRPr>
            </a:p>
          </p:txBody>
        </p:sp>
        <p:sp>
          <p:nvSpPr>
            <p:cNvPr id="98" name="Freeform 75"/>
            <p:cNvSpPr>
              <a:spLocks/>
            </p:cNvSpPr>
            <p:nvPr/>
          </p:nvSpPr>
          <p:spPr bwMode="auto">
            <a:xfrm>
              <a:off x="5169165" y="5467627"/>
              <a:ext cx="1437019" cy="1435276"/>
            </a:xfrm>
            <a:custGeom>
              <a:avLst/>
              <a:gdLst>
                <a:gd name="T0" fmla="*/ 728 w 801"/>
                <a:gd name="T1" fmla="*/ 533 h 801"/>
                <a:gd name="T2" fmla="*/ 268 w 801"/>
                <a:gd name="T3" fmla="*/ 728 h 801"/>
                <a:gd name="T4" fmla="*/ 73 w 801"/>
                <a:gd name="T5" fmla="*/ 268 h 801"/>
                <a:gd name="T6" fmla="*/ 533 w 801"/>
                <a:gd name="T7" fmla="*/ 73 h 801"/>
                <a:gd name="T8" fmla="*/ 728 w 801"/>
                <a:gd name="T9" fmla="*/ 533 h 801"/>
              </a:gdLst>
              <a:ahLst/>
              <a:cxnLst>
                <a:cxn ang="0">
                  <a:pos x="T0" y="T1"/>
                </a:cxn>
                <a:cxn ang="0">
                  <a:pos x="T2" y="T3"/>
                </a:cxn>
                <a:cxn ang="0">
                  <a:pos x="T4" y="T5"/>
                </a:cxn>
                <a:cxn ang="0">
                  <a:pos x="T6" y="T7"/>
                </a:cxn>
                <a:cxn ang="0">
                  <a:pos x="T8" y="T9"/>
                </a:cxn>
              </a:cxnLst>
              <a:rect l="0" t="0" r="r" b="b"/>
              <a:pathLst>
                <a:path w="801" h="801">
                  <a:moveTo>
                    <a:pt x="728" y="533"/>
                  </a:moveTo>
                  <a:cubicBezTo>
                    <a:pt x="655" y="714"/>
                    <a:pt x="449" y="801"/>
                    <a:pt x="268" y="728"/>
                  </a:cubicBezTo>
                  <a:cubicBezTo>
                    <a:pt x="87" y="655"/>
                    <a:pt x="0" y="449"/>
                    <a:pt x="73" y="268"/>
                  </a:cubicBezTo>
                  <a:cubicBezTo>
                    <a:pt x="146" y="87"/>
                    <a:pt x="352" y="0"/>
                    <a:pt x="533" y="73"/>
                  </a:cubicBezTo>
                  <a:cubicBezTo>
                    <a:pt x="713" y="146"/>
                    <a:pt x="801" y="352"/>
                    <a:pt x="728" y="533"/>
                  </a:cubicBezTo>
                  <a:close/>
                </a:path>
              </a:pathLst>
            </a:custGeom>
            <a:noFill/>
            <a:ln w="9525">
              <a:solidFill>
                <a:schemeClr val="accent2"/>
              </a:solidFill>
              <a:round/>
              <a:headEnd/>
              <a:tailEnd/>
            </a:ln>
          </p:spPr>
          <p:txBody>
            <a:bodyPr vert="horz" wrap="square" lIns="100330" tIns="50165" rIns="100330" bIns="50165" numCol="1" anchor="ctr" anchorCtr="0" compatLnSpc="1">
              <a:prstTxWarp prst="textNoShape">
                <a:avLst/>
              </a:prstTxWarp>
            </a:bodyPr>
            <a:lstStyle/>
            <a:p>
              <a:pPr algn="ctr" defTabSz="329202">
                <a:lnSpc>
                  <a:spcPct val="105000"/>
                </a:lnSpc>
                <a:spcBef>
                  <a:spcPct val="0"/>
                </a:spcBef>
              </a:pPr>
              <a:r>
                <a:rPr lang="en-GB" sz="1097" b="1" dirty="0">
                  <a:solidFill>
                    <a:srgbClr val="FFFFFF"/>
                  </a:solidFill>
                </a:rPr>
                <a:t>Valores y Cultura</a:t>
              </a:r>
              <a:endParaRPr lang="en-US" sz="1097" b="1" dirty="0">
                <a:solidFill>
                  <a:srgbClr val="FFFFFF"/>
                </a:solidFill>
              </a:endParaRPr>
            </a:p>
          </p:txBody>
        </p:sp>
        <p:grpSp>
          <p:nvGrpSpPr>
            <p:cNvPr id="3" name="Group 2"/>
            <p:cNvGrpSpPr/>
            <p:nvPr/>
          </p:nvGrpSpPr>
          <p:grpSpPr>
            <a:xfrm>
              <a:off x="3868010" y="2990729"/>
              <a:ext cx="2311426" cy="2311426"/>
              <a:chOff x="3500438" y="2411413"/>
              <a:chExt cx="2144713" cy="2144713"/>
            </a:xfrm>
            <a:solidFill>
              <a:srgbClr val="679B9A"/>
            </a:solidFill>
          </p:grpSpPr>
          <p:sp>
            <p:nvSpPr>
              <p:cNvPr id="90" name="Freeform 67"/>
              <p:cNvSpPr>
                <a:spLocks/>
              </p:cNvSpPr>
              <p:nvPr/>
            </p:nvSpPr>
            <p:spPr bwMode="auto">
              <a:xfrm>
                <a:off x="3500438" y="2411413"/>
                <a:ext cx="2144713" cy="2144713"/>
              </a:xfrm>
              <a:custGeom>
                <a:avLst/>
                <a:gdLst>
                  <a:gd name="T0" fmla="*/ 1193 w 1313"/>
                  <a:gd name="T1" fmla="*/ 873 h 1313"/>
                  <a:gd name="T2" fmla="*/ 439 w 1313"/>
                  <a:gd name="T3" fmla="*/ 1193 h 1313"/>
                  <a:gd name="T4" fmla="*/ 119 w 1313"/>
                  <a:gd name="T5" fmla="*/ 439 h 1313"/>
                  <a:gd name="T6" fmla="*/ 873 w 1313"/>
                  <a:gd name="T7" fmla="*/ 120 h 1313"/>
                  <a:gd name="T8" fmla="*/ 1193 w 1313"/>
                  <a:gd name="T9" fmla="*/ 873 h 1313"/>
                </a:gdLst>
                <a:ahLst/>
                <a:cxnLst>
                  <a:cxn ang="0">
                    <a:pos x="T0" y="T1"/>
                  </a:cxn>
                  <a:cxn ang="0">
                    <a:pos x="T2" y="T3"/>
                  </a:cxn>
                  <a:cxn ang="0">
                    <a:pos x="T4" y="T5"/>
                  </a:cxn>
                  <a:cxn ang="0">
                    <a:pos x="T6" y="T7"/>
                  </a:cxn>
                  <a:cxn ang="0">
                    <a:pos x="T8" y="T9"/>
                  </a:cxn>
                </a:cxnLst>
                <a:rect l="0" t="0" r="r" b="b"/>
                <a:pathLst>
                  <a:path w="1313" h="1313">
                    <a:moveTo>
                      <a:pt x="1193" y="873"/>
                    </a:moveTo>
                    <a:cubicBezTo>
                      <a:pt x="1073" y="1170"/>
                      <a:pt x="736" y="1313"/>
                      <a:pt x="439" y="1193"/>
                    </a:cubicBezTo>
                    <a:cubicBezTo>
                      <a:pt x="143" y="1073"/>
                      <a:pt x="0" y="736"/>
                      <a:pt x="119" y="439"/>
                    </a:cubicBezTo>
                    <a:cubicBezTo>
                      <a:pt x="239" y="143"/>
                      <a:pt x="577" y="0"/>
                      <a:pt x="873" y="120"/>
                    </a:cubicBezTo>
                    <a:cubicBezTo>
                      <a:pt x="1169" y="239"/>
                      <a:pt x="1313" y="577"/>
                      <a:pt x="1193" y="8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330" tIns="50165" rIns="100330" bIns="50165" numCol="1" anchor="t" anchorCtr="0" compatLnSpc="1">
                <a:prstTxWarp prst="textNoShape">
                  <a:avLst/>
                </a:prstTxWarp>
              </a:bodyPr>
              <a:lstStyle/>
              <a:p>
                <a:pPr defTabSz="501640"/>
                <a:endParaRPr lang="en-GB" sz="1975" dirty="0">
                  <a:solidFill>
                    <a:srgbClr val="003768"/>
                  </a:solidFill>
                </a:endParaRPr>
              </a:p>
            </p:txBody>
          </p:sp>
          <p:sp>
            <p:nvSpPr>
              <p:cNvPr id="4" name="Freeform 3"/>
              <p:cNvSpPr/>
              <p:nvPr/>
            </p:nvSpPr>
            <p:spPr>
              <a:xfrm>
                <a:off x="3672794" y="2583769"/>
                <a:ext cx="1800000" cy="1800000"/>
              </a:xfrm>
              <a:custGeom>
                <a:avLst/>
                <a:gdLst>
                  <a:gd name="connsiteX0" fmla="*/ 0 w 1666224"/>
                  <a:gd name="connsiteY0" fmla="*/ 803415 h 1606830"/>
                  <a:gd name="connsiteX1" fmla="*/ 833112 w 1666224"/>
                  <a:gd name="connsiteY1" fmla="*/ 0 h 1606830"/>
                  <a:gd name="connsiteX2" fmla="*/ 1666224 w 1666224"/>
                  <a:gd name="connsiteY2" fmla="*/ 803415 h 1606830"/>
                  <a:gd name="connsiteX3" fmla="*/ 833112 w 1666224"/>
                  <a:gd name="connsiteY3" fmla="*/ 1606830 h 1606830"/>
                  <a:gd name="connsiteX4" fmla="*/ 0 w 1666224"/>
                  <a:gd name="connsiteY4" fmla="*/ 803415 h 160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6224" h="1606830">
                    <a:moveTo>
                      <a:pt x="0" y="803415"/>
                    </a:moveTo>
                    <a:cubicBezTo>
                      <a:pt x="0" y="359701"/>
                      <a:pt x="372997" y="0"/>
                      <a:pt x="833112" y="0"/>
                    </a:cubicBezTo>
                    <a:cubicBezTo>
                      <a:pt x="1293227" y="0"/>
                      <a:pt x="1666224" y="359701"/>
                      <a:pt x="1666224" y="803415"/>
                    </a:cubicBezTo>
                    <a:cubicBezTo>
                      <a:pt x="1666224" y="1247129"/>
                      <a:pt x="1293227" y="1606830"/>
                      <a:pt x="833112" y="1606830"/>
                    </a:cubicBezTo>
                    <a:cubicBezTo>
                      <a:pt x="372997" y="1606830"/>
                      <a:pt x="0" y="1247129"/>
                      <a:pt x="0" y="8034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spcBef>
                    <a:spcPts val="329"/>
                  </a:spcBef>
                </a:pPr>
                <a:r>
                  <a:rPr lang="en-US" sz="1400" b="1" dirty="0">
                    <a:solidFill>
                      <a:srgbClr val="FFFFFF"/>
                    </a:solidFill>
                    <a:latin typeface="+mj-lt"/>
                  </a:rPr>
                  <a:t>EMPLEABILIDAD</a:t>
                </a:r>
              </a:p>
            </p:txBody>
          </p:sp>
        </p:grpSp>
        <p:sp>
          <p:nvSpPr>
            <p:cNvPr id="2" name="Oval 1"/>
            <p:cNvSpPr/>
            <p:nvPr/>
          </p:nvSpPr>
          <p:spPr>
            <a:xfrm>
              <a:off x="3785353" y="3602664"/>
              <a:ext cx="138250" cy="138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endParaRPr>
            </a:p>
          </p:txBody>
        </p:sp>
        <p:sp>
          <p:nvSpPr>
            <p:cNvPr id="34" name="Oval 33"/>
            <p:cNvSpPr/>
            <p:nvPr/>
          </p:nvSpPr>
          <p:spPr>
            <a:xfrm>
              <a:off x="4467597" y="2927109"/>
              <a:ext cx="138250" cy="138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endParaRPr>
            </a:p>
          </p:txBody>
        </p:sp>
        <p:sp>
          <p:nvSpPr>
            <p:cNvPr id="35" name="Oval 34"/>
            <p:cNvSpPr/>
            <p:nvPr/>
          </p:nvSpPr>
          <p:spPr>
            <a:xfrm>
              <a:off x="5425765" y="2907669"/>
              <a:ext cx="138250" cy="138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endParaRPr>
            </a:p>
          </p:txBody>
        </p:sp>
        <p:sp>
          <p:nvSpPr>
            <p:cNvPr id="36" name="Oval 35"/>
            <p:cNvSpPr/>
            <p:nvPr/>
          </p:nvSpPr>
          <p:spPr>
            <a:xfrm>
              <a:off x="6123822" y="4547639"/>
              <a:ext cx="138250" cy="138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endParaRPr>
            </a:p>
          </p:txBody>
        </p:sp>
        <p:sp>
          <p:nvSpPr>
            <p:cNvPr id="37" name="Oval 36"/>
            <p:cNvSpPr/>
            <p:nvPr/>
          </p:nvSpPr>
          <p:spPr>
            <a:xfrm>
              <a:off x="4483008" y="5243678"/>
              <a:ext cx="138250" cy="138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1640"/>
              <a:endParaRPr lang="en-GB" sz="1975" dirty="0">
                <a:solidFill>
                  <a:srgbClr val="FFFFFF"/>
                </a:solidFill>
              </a:endParaRPr>
            </a:p>
          </p:txBody>
        </p:sp>
      </p:grpSp>
    </p:spTree>
    <p:extLst>
      <p:ext uri="{BB962C8B-B14F-4D97-AF65-F5344CB8AC3E}">
        <p14:creationId xmlns:p14="http://schemas.microsoft.com/office/powerpoint/2010/main" val="42583574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smtClean="0"/>
              <a:t>Situación específica de los graduados de Humanidades y otras ciencias sociales en Castilla y León</a:t>
            </a:r>
            <a:endParaRPr lang="en-US" dirty="0"/>
          </a:p>
        </p:txBody>
      </p:sp>
      <p:sp>
        <p:nvSpPr>
          <p:cNvPr id="4" name="TextBox 3"/>
          <p:cNvSpPr txBox="1"/>
          <p:nvPr/>
        </p:nvSpPr>
        <p:spPr>
          <a:xfrm>
            <a:off x="384866" y="1232619"/>
            <a:ext cx="2809274" cy="246221"/>
          </a:xfrm>
          <a:prstGeom prst="rect">
            <a:avLst/>
          </a:prstGeom>
        </p:spPr>
        <p:txBody>
          <a:bodyPr wrap="square" lIns="0" tIns="0" rIns="0" bIns="0" rtlCol="0">
            <a:spAutoFit/>
          </a:bodyPr>
          <a:lstStyle/>
          <a:p>
            <a:pPr defTabSz="501640">
              <a:buClr>
                <a:srgbClr val="CE984D"/>
              </a:buClr>
              <a:defRPr/>
            </a:pPr>
            <a:r>
              <a:rPr lang="en-GB" sz="1600" b="1" kern="0" dirty="0">
                <a:solidFill>
                  <a:srgbClr val="8C99AC"/>
                </a:solidFill>
                <a:latin typeface="+mj-lt"/>
              </a:rPr>
              <a:t>FACTORES EXTERNOS</a:t>
            </a:r>
            <a:endParaRPr lang="en-US" sz="1600" b="1" kern="0" dirty="0">
              <a:solidFill>
                <a:srgbClr val="8C99AC"/>
              </a:solidFill>
              <a:latin typeface="+mj-lt"/>
            </a:endParaRPr>
          </a:p>
        </p:txBody>
      </p:sp>
      <p:sp>
        <p:nvSpPr>
          <p:cNvPr id="5" name="TextBox 4"/>
          <p:cNvSpPr txBox="1"/>
          <p:nvPr/>
        </p:nvSpPr>
        <p:spPr>
          <a:xfrm>
            <a:off x="0" y="4073217"/>
            <a:ext cx="5091852" cy="246221"/>
          </a:xfrm>
          <a:prstGeom prst="rect">
            <a:avLst/>
          </a:prstGeom>
        </p:spPr>
        <p:txBody>
          <a:bodyPr wrap="square" lIns="0" tIns="0" rIns="0" bIns="0" rtlCol="0">
            <a:spAutoFit/>
          </a:bodyPr>
          <a:lstStyle/>
          <a:p>
            <a:pPr algn="r" defTabSz="501640">
              <a:defRPr/>
            </a:pPr>
            <a:r>
              <a:rPr lang="en-US" sz="1600" b="1" kern="0" dirty="0" smtClean="0">
                <a:solidFill>
                  <a:srgbClr val="AE6D66"/>
                </a:solidFill>
                <a:latin typeface="+mj-lt"/>
              </a:rPr>
              <a:t>FACTORES DEL INDIVIDUO </a:t>
            </a:r>
            <a:r>
              <a:rPr lang="en-US" sz="1600" b="1" kern="0" dirty="0">
                <a:solidFill>
                  <a:srgbClr val="AE6D66"/>
                </a:solidFill>
                <a:latin typeface="+mj-lt"/>
              </a:rPr>
              <a:t>Y </a:t>
            </a:r>
            <a:r>
              <a:rPr lang="en-US" sz="1600" b="1" kern="0" dirty="0" smtClean="0">
                <a:solidFill>
                  <a:srgbClr val="AE6D66"/>
                </a:solidFill>
                <a:latin typeface="+mj-lt"/>
              </a:rPr>
              <a:t>EDUCACIÓN</a:t>
            </a:r>
            <a:endParaRPr lang="en-US" sz="1600" b="1" kern="0" dirty="0">
              <a:solidFill>
                <a:srgbClr val="AE6D66"/>
              </a:solidFill>
              <a:latin typeface="+mj-lt"/>
            </a:endParaRPr>
          </a:p>
        </p:txBody>
      </p:sp>
      <p:sp>
        <p:nvSpPr>
          <p:cNvPr id="6" name="Rectangle 5"/>
          <p:cNvSpPr/>
          <p:nvPr/>
        </p:nvSpPr>
        <p:spPr>
          <a:xfrm>
            <a:off x="342899" y="1640918"/>
            <a:ext cx="9339719" cy="1515856"/>
          </a:xfrm>
          <a:prstGeom prst="rect">
            <a:avLst/>
          </a:prstGeom>
          <a:solidFill>
            <a:srgbClr val="8C99AC"/>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3538" indent="-363538">
              <a:lnSpc>
                <a:spcPct val="150000"/>
              </a:lnSpc>
              <a:buFont typeface="Wingdings" panose="05000000000000000000" pitchFamily="2" charset="2"/>
              <a:buChar char="ü"/>
            </a:pPr>
            <a:r>
              <a:rPr lang="es-ES_tradnl" sz="1600" dirty="0"/>
              <a:t>Tipología empresarial de pequeña y mediana empresa en sectores tradicionales.</a:t>
            </a:r>
          </a:p>
          <a:p>
            <a:pPr marL="363538" indent="-363538">
              <a:lnSpc>
                <a:spcPct val="150000"/>
              </a:lnSpc>
              <a:buFont typeface="Wingdings" panose="05000000000000000000" pitchFamily="2" charset="2"/>
              <a:buChar char="ü"/>
            </a:pPr>
            <a:r>
              <a:rPr lang="es-ES_tradnl" sz="1600" dirty="0"/>
              <a:t>Falta de innovación empresarial en sectores adecuados para los egresados.</a:t>
            </a:r>
          </a:p>
          <a:p>
            <a:pPr marL="363538" indent="-363538">
              <a:lnSpc>
                <a:spcPct val="150000"/>
              </a:lnSpc>
              <a:buFont typeface="Wingdings" panose="05000000000000000000" pitchFamily="2" charset="2"/>
              <a:buChar char="ü"/>
            </a:pPr>
            <a:r>
              <a:rPr lang="es-ES_tradnl" sz="1600" dirty="0"/>
              <a:t>Pocas barreras de entrada en oportunidades de trabajo especificas.</a:t>
            </a:r>
          </a:p>
          <a:p>
            <a:pPr marL="363538" indent="-363538">
              <a:lnSpc>
                <a:spcPct val="150000"/>
              </a:lnSpc>
              <a:buFont typeface="Wingdings" panose="05000000000000000000" pitchFamily="2" charset="2"/>
              <a:buChar char="ü"/>
            </a:pPr>
            <a:r>
              <a:rPr lang="es-ES_tradnl" sz="1600" dirty="0"/>
              <a:t>Ausencia de incentivos específicos para la contratación de estos graduados</a:t>
            </a:r>
            <a:r>
              <a:rPr lang="es-ES_tradnl" sz="1200" dirty="0"/>
              <a:t>.</a:t>
            </a:r>
            <a:endParaRPr lang="en-US" sz="1200" b="1" dirty="0" smtClean="0"/>
          </a:p>
        </p:txBody>
      </p:sp>
      <p:sp>
        <p:nvSpPr>
          <p:cNvPr id="7" name="Rectangle 6"/>
          <p:cNvSpPr/>
          <p:nvPr/>
        </p:nvSpPr>
        <p:spPr>
          <a:xfrm>
            <a:off x="342900" y="4484318"/>
            <a:ext cx="9339718" cy="2129423"/>
          </a:xfrm>
          <a:prstGeom prst="rect">
            <a:avLst/>
          </a:prstGeom>
          <a:solidFill>
            <a:srgbClr val="C2918C"/>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3538" indent="-363538" algn="just">
              <a:buFont typeface="Wingdings" panose="05000000000000000000" pitchFamily="2" charset="2"/>
              <a:buChar char="ü"/>
            </a:pPr>
            <a:r>
              <a:rPr lang="es-ES_tradnl" sz="1600" dirty="0"/>
              <a:t>Servicios de orientación no coordinados con la universidad y la empresa y de actuación tardía.</a:t>
            </a:r>
          </a:p>
          <a:p>
            <a:pPr marL="363538" indent="-363538" algn="just">
              <a:spcBef>
                <a:spcPts val="600"/>
              </a:spcBef>
              <a:buFont typeface="Wingdings" panose="05000000000000000000" pitchFamily="2" charset="2"/>
              <a:buChar char="ü"/>
            </a:pPr>
            <a:r>
              <a:rPr lang="es-ES_tradnl" sz="1600" dirty="0"/>
              <a:t>Formación técnica con carencias fundamentales en resolución de problemas, idiomas y calculo básico.</a:t>
            </a:r>
          </a:p>
          <a:p>
            <a:pPr marL="363538" indent="-363538" algn="just">
              <a:lnSpc>
                <a:spcPct val="150000"/>
              </a:lnSpc>
              <a:buFont typeface="Wingdings" panose="05000000000000000000" pitchFamily="2" charset="2"/>
              <a:buChar char="ü"/>
            </a:pPr>
            <a:r>
              <a:rPr lang="es-ES_tradnl" sz="1600" dirty="0"/>
              <a:t>Educación mejorable en competencias transversales.</a:t>
            </a:r>
          </a:p>
          <a:p>
            <a:pPr marL="363538" indent="-363538" algn="just">
              <a:lnSpc>
                <a:spcPct val="150000"/>
              </a:lnSpc>
              <a:buFont typeface="Wingdings" panose="05000000000000000000" pitchFamily="2" charset="2"/>
              <a:buChar char="ü"/>
            </a:pPr>
            <a:r>
              <a:rPr lang="es-ES_tradnl" sz="1600" dirty="0" smtClean="0"/>
              <a:t>Prácticas </a:t>
            </a:r>
            <a:r>
              <a:rPr lang="es-ES_tradnl" sz="1600" dirty="0"/>
              <a:t>en empresa mejorables.</a:t>
            </a:r>
          </a:p>
        </p:txBody>
      </p:sp>
    </p:spTree>
    <p:extLst>
      <p:ext uri="{BB962C8B-B14F-4D97-AF65-F5344CB8AC3E}">
        <p14:creationId xmlns:p14="http://schemas.microsoft.com/office/powerpoint/2010/main" val="1877067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58620" y="1169989"/>
            <a:ext cx="895739" cy="2002419"/>
          </a:xfrm>
          <a:prstGeom prst="rect">
            <a:avLst/>
          </a:prstGeom>
          <a:solidFill>
            <a:srgbClr val="8C99AC"/>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2" name="Title 1"/>
          <p:cNvSpPr>
            <a:spLocks noGrp="1"/>
          </p:cNvSpPr>
          <p:nvPr>
            <p:ph type="title"/>
          </p:nvPr>
        </p:nvSpPr>
        <p:spPr>
          <a:xfrm>
            <a:off x="303143" y="168568"/>
            <a:ext cx="8064500" cy="649287"/>
          </a:xfrm>
        </p:spPr>
        <p:txBody>
          <a:bodyPr/>
          <a:lstStyle/>
          <a:p>
            <a:r>
              <a:rPr lang="es-ES_tradnl" dirty="0" smtClean="0"/>
              <a:t>Posibles acciones de mejora </a:t>
            </a:r>
            <a:endParaRPr lang="es-ES_tradnl" dirty="0"/>
          </a:p>
        </p:txBody>
      </p:sp>
      <p:sp>
        <p:nvSpPr>
          <p:cNvPr id="3" name="Content Placeholder 2"/>
          <p:cNvSpPr>
            <a:spLocks noGrp="1"/>
          </p:cNvSpPr>
          <p:nvPr>
            <p:ph idx="1"/>
          </p:nvPr>
        </p:nvSpPr>
        <p:spPr>
          <a:xfrm>
            <a:off x="1204967" y="1169989"/>
            <a:ext cx="8497834" cy="5964236"/>
          </a:xfrm>
        </p:spPr>
        <p:txBody>
          <a:bodyPr>
            <a:normAutofit/>
          </a:bodyPr>
          <a:lstStyle/>
          <a:p>
            <a:pPr eaLnBrk="0" fontAlgn="base" hangingPunct="0">
              <a:lnSpc>
                <a:spcPct val="100000"/>
              </a:lnSpc>
              <a:spcBef>
                <a:spcPct val="0"/>
              </a:spcBef>
              <a:spcAft>
                <a:spcPct val="0"/>
              </a:spcAft>
              <a:tabLst>
                <a:tab pos="414668" algn="l"/>
              </a:tabLst>
            </a:pPr>
            <a:r>
              <a:rPr lang="es-ES" altLang="en-US" sz="1300" dirty="0">
                <a:solidFill>
                  <a:schemeClr val="tx1">
                    <a:lumMod val="65000"/>
                    <a:lumOff val="35000"/>
                  </a:schemeClr>
                </a:solidFill>
              </a:rPr>
              <a:t>Contratación de recién graduados. </a:t>
            </a:r>
            <a:r>
              <a:rPr lang="es-ES" altLang="en-US" sz="1300" b="0" dirty="0">
                <a:solidFill>
                  <a:schemeClr val="tx1">
                    <a:lumMod val="65000"/>
                    <a:lumOff val="35000"/>
                  </a:schemeClr>
                </a:solidFill>
              </a:rPr>
              <a:t>Las organizaciones que contratan a mayor número de recién graduados se caracterizan por ser grandes empresas e instituciones (más de 250 trabajadores</a:t>
            </a:r>
            <a:r>
              <a:rPr lang="es-ES" altLang="en-US" sz="1300" b="0" dirty="0" smtClean="0">
                <a:solidFill>
                  <a:schemeClr val="tx1">
                    <a:lumMod val="65000"/>
                    <a:lumOff val="35000"/>
                  </a:schemeClr>
                </a:solidFill>
              </a:rPr>
              <a:t>),</a:t>
            </a:r>
          </a:p>
          <a:p>
            <a:pPr eaLnBrk="0" fontAlgn="base" hangingPunct="0">
              <a:lnSpc>
                <a:spcPct val="100000"/>
              </a:lnSpc>
              <a:spcBef>
                <a:spcPct val="0"/>
              </a:spcBef>
              <a:spcAft>
                <a:spcPct val="0"/>
              </a:spcAft>
              <a:tabLst>
                <a:tab pos="414668" algn="l"/>
              </a:tabLst>
            </a:pPr>
            <a:r>
              <a:rPr lang="es-ES" altLang="en-US" sz="1300" b="0" dirty="0" smtClean="0">
                <a:solidFill>
                  <a:schemeClr val="tx1">
                    <a:lumMod val="65000"/>
                    <a:lumOff val="35000"/>
                  </a:schemeClr>
                </a:solidFill>
              </a:rPr>
              <a:t>tener </a:t>
            </a:r>
            <a:r>
              <a:rPr lang="es-ES" altLang="en-US" sz="1300" b="0" dirty="0">
                <a:solidFill>
                  <a:schemeClr val="tx1">
                    <a:lumMod val="65000"/>
                    <a:lumOff val="35000"/>
                  </a:schemeClr>
                </a:solidFill>
              </a:rPr>
              <a:t>más del 60% de la plantilla de trabajadores con estudios universitarios y ser organizaciones innovadoras.</a:t>
            </a:r>
            <a:endParaRPr lang="en-US" altLang="en-US" sz="1300" b="0" dirty="0">
              <a:solidFill>
                <a:schemeClr val="tx1">
                  <a:lumMod val="65000"/>
                  <a:lumOff val="35000"/>
                </a:schemeClr>
              </a:solidFill>
            </a:endParaRPr>
          </a:p>
          <a:p>
            <a:pPr eaLnBrk="0" fontAlgn="base" hangingPunct="0">
              <a:lnSpc>
                <a:spcPct val="100000"/>
              </a:lnSpc>
              <a:spcBef>
                <a:spcPct val="0"/>
              </a:spcBef>
              <a:spcAft>
                <a:spcPct val="0"/>
              </a:spcAft>
              <a:tabLst>
                <a:tab pos="414668" algn="l"/>
              </a:tabLst>
            </a:pPr>
            <a:endParaRPr lang="es-ES" altLang="en-US" dirty="0" smtClean="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marL="645750" lvl="2" indent="-285750" eaLnBrk="0" fontAlgn="base" hangingPunct="0">
              <a:lnSpc>
                <a:spcPct val="100000"/>
              </a:lnSpc>
              <a:spcBef>
                <a:spcPct val="0"/>
              </a:spcBef>
              <a:spcAft>
                <a:spcPct val="0"/>
              </a:spcAft>
              <a:buFont typeface="Wingdings 3" panose="05040102010807070707" pitchFamily="18" charset="2"/>
              <a:buChar char=""/>
              <a:tabLst>
                <a:tab pos="414668" algn="l"/>
              </a:tabLst>
            </a:pPr>
            <a:r>
              <a:rPr lang="es-ES" altLang="en-US" sz="1300" b="0" dirty="0">
                <a:solidFill>
                  <a:schemeClr val="tx1">
                    <a:lumMod val="65000"/>
                    <a:lumOff val="35000"/>
                  </a:schemeClr>
                </a:solidFill>
              </a:rPr>
              <a:t>Acciones de </a:t>
            </a:r>
            <a:r>
              <a:rPr lang="es-ES" altLang="en-US" sz="1300" b="0" dirty="0" smtClean="0">
                <a:solidFill>
                  <a:schemeClr val="tx1">
                    <a:lumMod val="65000"/>
                    <a:lumOff val="35000"/>
                  </a:schemeClr>
                </a:solidFill>
              </a:rPr>
              <a:t>mejora:</a:t>
            </a:r>
            <a:endParaRPr lang="es-ES" altLang="en-US" sz="1300" b="0" dirty="0">
              <a:solidFill>
                <a:schemeClr val="tx1">
                  <a:lumMod val="65000"/>
                  <a:lumOff val="35000"/>
                </a:schemeClr>
              </a:solidFill>
            </a:endParaRPr>
          </a:p>
          <a:p>
            <a:pPr marL="171450" indent="-171450" eaLnBrk="0" fontAlgn="base" hangingPunct="0">
              <a:lnSpc>
                <a:spcPct val="100000"/>
              </a:lnSpc>
              <a:spcBef>
                <a:spcPct val="0"/>
              </a:spcBef>
              <a:spcAft>
                <a:spcPct val="0"/>
              </a:spcAft>
              <a:buFont typeface="Wingdings" panose="05000000000000000000" pitchFamily="2" charset="2"/>
              <a:buChar char="q"/>
              <a:tabLst>
                <a:tab pos="414668" algn="l"/>
              </a:tabLst>
            </a:pPr>
            <a:endParaRPr lang="es-ES" altLang="en-US" b="0" dirty="0" smtClean="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smtClean="0">
                <a:solidFill>
                  <a:schemeClr val="tx1">
                    <a:lumMod val="65000"/>
                    <a:lumOff val="35000"/>
                  </a:schemeClr>
                </a:solidFill>
                <a:ea typeface="Verdana" panose="020B0604030504040204" pitchFamily="34" charset="0"/>
                <a:cs typeface="Verdana" panose="020B0604030504040204" pitchFamily="34" charset="0"/>
              </a:rPr>
              <a:t>Facilitar </a:t>
            </a:r>
            <a:r>
              <a:rPr lang="es-ES" altLang="en-US" dirty="0">
                <a:solidFill>
                  <a:schemeClr val="tx1">
                    <a:lumMod val="65000"/>
                    <a:lumOff val="35000"/>
                  </a:schemeClr>
                </a:solidFill>
                <a:ea typeface="Verdana" panose="020B0604030504040204" pitchFamily="34" charset="0"/>
                <a:cs typeface="Verdana" panose="020B0604030504040204" pitchFamily="34" charset="0"/>
              </a:rPr>
              <a:t>la creación y contratación de recién graduados por parte de este tipo de organizaciones.</a:t>
            </a: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Promover el contacto entre graduados y esta tipología de organizaciones (foros de empresas, prácticas en empresas...).</a:t>
            </a:r>
            <a:endParaRPr lang="en-US" altLang="en-US" dirty="0">
              <a:solidFill>
                <a:schemeClr val="tx1">
                  <a:lumMod val="65000"/>
                  <a:lumOff val="35000"/>
                </a:schemeClr>
              </a:solidFill>
              <a:ea typeface="Verdana" panose="020B0604030504040204" pitchFamily="34" charset="0"/>
              <a:cs typeface="Verdana" panose="020B0604030504040204" pitchFamily="34" charset="0"/>
            </a:endParaRPr>
          </a:p>
          <a:p>
            <a:pPr eaLnBrk="0" fontAlgn="base" hangingPunct="0">
              <a:lnSpc>
                <a:spcPct val="100000"/>
              </a:lnSpc>
              <a:spcBef>
                <a:spcPct val="0"/>
              </a:spcBef>
              <a:spcAft>
                <a:spcPct val="0"/>
              </a:spcAft>
              <a:tabLst>
                <a:tab pos="414668" algn="l"/>
              </a:tabLst>
            </a:pPr>
            <a:endParaRPr lang="es-ES" altLang="en-US" b="0" u="sng" dirty="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eaLnBrk="0" fontAlgn="base" hangingPunct="0">
              <a:lnSpc>
                <a:spcPct val="100000"/>
              </a:lnSpc>
              <a:spcBef>
                <a:spcPct val="0"/>
              </a:spcBef>
              <a:spcAft>
                <a:spcPct val="0"/>
              </a:spcAft>
              <a:tabLst>
                <a:tab pos="414668" algn="l"/>
              </a:tabLst>
            </a:pPr>
            <a:r>
              <a:rPr lang="es-ES" altLang="en-US" sz="1300" dirty="0">
                <a:solidFill>
                  <a:schemeClr val="tx1">
                    <a:lumMod val="65000"/>
                    <a:lumOff val="35000"/>
                  </a:schemeClr>
                </a:solidFill>
              </a:rPr>
              <a:t>Dificultades de contratación. </a:t>
            </a:r>
            <a:r>
              <a:rPr lang="es-ES" altLang="en-US" sz="1300" b="0" dirty="0">
                <a:solidFill>
                  <a:schemeClr val="tx1">
                    <a:lumMod val="65000"/>
                    <a:lumOff val="35000"/>
                  </a:schemeClr>
                </a:solidFill>
              </a:rPr>
              <a:t>Una proporción importante de empresas e instituciones declaran tener dificultades de contratación por falta de solicitantes con las competencias necesarias y por falta de titulados en un ámbito concreto.</a:t>
            </a:r>
            <a:endParaRPr lang="en-US" altLang="en-US" sz="1300" b="0" dirty="0">
              <a:solidFill>
                <a:schemeClr val="tx1">
                  <a:lumMod val="65000"/>
                  <a:lumOff val="35000"/>
                </a:schemeClr>
              </a:solidFill>
            </a:endParaRPr>
          </a:p>
          <a:p>
            <a:pPr marL="171450" indent="-171450" eaLnBrk="0" fontAlgn="base" hangingPunct="0">
              <a:lnSpc>
                <a:spcPct val="100000"/>
              </a:lnSpc>
              <a:spcBef>
                <a:spcPct val="0"/>
              </a:spcBef>
              <a:spcAft>
                <a:spcPct val="0"/>
              </a:spcAft>
              <a:buFont typeface="Wingdings" panose="05000000000000000000" pitchFamily="2" charset="2"/>
              <a:buChar char="q"/>
              <a:tabLst>
                <a:tab pos="414668" algn="l"/>
              </a:tabLst>
            </a:pPr>
            <a:endParaRPr lang="es-ES" altLang="en-US" dirty="0" smtClean="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marL="645750" lvl="2" indent="-285750" eaLnBrk="0" fontAlgn="base" hangingPunct="0">
              <a:lnSpc>
                <a:spcPct val="100000"/>
              </a:lnSpc>
              <a:spcBef>
                <a:spcPct val="0"/>
              </a:spcBef>
              <a:spcAft>
                <a:spcPct val="0"/>
              </a:spcAft>
              <a:buFont typeface="Wingdings 3" panose="05040102010807070707" pitchFamily="18" charset="2"/>
              <a:buChar char=""/>
              <a:tabLst>
                <a:tab pos="414668" algn="l"/>
              </a:tabLst>
            </a:pPr>
            <a:r>
              <a:rPr lang="es-ES" altLang="en-US" sz="1300" b="0" dirty="0">
                <a:solidFill>
                  <a:schemeClr val="tx1">
                    <a:lumMod val="65000"/>
                    <a:lumOff val="35000"/>
                  </a:schemeClr>
                </a:solidFill>
              </a:rPr>
              <a:t>Acciones de </a:t>
            </a:r>
            <a:r>
              <a:rPr lang="es-ES" altLang="en-US" sz="1300" b="0" dirty="0" smtClean="0">
                <a:solidFill>
                  <a:schemeClr val="tx1">
                    <a:lumMod val="65000"/>
                    <a:lumOff val="35000"/>
                  </a:schemeClr>
                </a:solidFill>
              </a:rPr>
              <a:t>mejora:</a:t>
            </a:r>
          </a:p>
          <a:p>
            <a:pPr lvl="2" indent="0" eaLnBrk="0" fontAlgn="base" hangingPunct="0">
              <a:lnSpc>
                <a:spcPct val="100000"/>
              </a:lnSpc>
              <a:spcBef>
                <a:spcPct val="0"/>
              </a:spcBef>
              <a:spcAft>
                <a:spcPct val="0"/>
              </a:spcAft>
              <a:buNone/>
              <a:tabLst>
                <a:tab pos="414668" algn="l"/>
              </a:tabLst>
            </a:pPr>
            <a:endParaRPr lang="es-ES" altLang="en-US" sz="1300" b="0" dirty="0" smtClean="0">
              <a:solidFill>
                <a:schemeClr val="tx1">
                  <a:lumMod val="65000"/>
                  <a:lumOff val="35000"/>
                </a:schemeClr>
              </a:solidFill>
            </a:endParaRP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Difundir el Marco de Cualificaciones de nivel universitario entre los empleadores. </a:t>
            </a: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Establecer vínculos entre las bolsas de trabajo de las universidades y las organizaciones con mayores dificultades de contratación.</a:t>
            </a:r>
          </a:p>
          <a:p>
            <a:pPr marL="645750" lvl="2" indent="-285750" eaLnBrk="0" fontAlgn="base" hangingPunct="0">
              <a:lnSpc>
                <a:spcPct val="100000"/>
              </a:lnSpc>
              <a:spcBef>
                <a:spcPct val="0"/>
              </a:spcBef>
              <a:spcAft>
                <a:spcPct val="0"/>
              </a:spcAft>
              <a:buFont typeface="Wingdings 3" panose="05040102010807070707" pitchFamily="18" charset="2"/>
              <a:buChar char=""/>
              <a:tabLst>
                <a:tab pos="414668" algn="l"/>
              </a:tabLst>
            </a:pPr>
            <a:endParaRPr lang="es-ES" altLang="en-US" sz="1300" b="0" dirty="0">
              <a:solidFill>
                <a:schemeClr val="tx1">
                  <a:lumMod val="65000"/>
                  <a:lumOff val="35000"/>
                </a:schemeClr>
              </a:solidFill>
            </a:endParaRPr>
          </a:p>
          <a:p>
            <a:pPr eaLnBrk="0" fontAlgn="base" hangingPunct="0">
              <a:lnSpc>
                <a:spcPct val="100000"/>
              </a:lnSpc>
              <a:spcBef>
                <a:spcPct val="0"/>
              </a:spcBef>
              <a:spcAft>
                <a:spcPct val="0"/>
              </a:spcAft>
              <a:tabLst>
                <a:tab pos="414668" algn="l"/>
              </a:tabLst>
            </a:pPr>
            <a:r>
              <a:rPr lang="es-ES" altLang="en-US" sz="1300" dirty="0" smtClean="0">
                <a:solidFill>
                  <a:schemeClr val="tx1">
                    <a:lumMod val="65000"/>
                    <a:lumOff val="35000"/>
                  </a:schemeClr>
                </a:solidFill>
              </a:rPr>
              <a:t>Competencia </a:t>
            </a:r>
            <a:r>
              <a:rPr lang="es-ES" altLang="en-US" sz="1300" dirty="0">
                <a:solidFill>
                  <a:schemeClr val="tx1">
                    <a:lumMod val="65000"/>
                    <a:lumOff val="35000"/>
                  </a:schemeClr>
                </a:solidFill>
              </a:rPr>
              <a:t>en idiomas</a:t>
            </a:r>
            <a:r>
              <a:rPr lang="es-ES" altLang="en-US" sz="1300" b="0" dirty="0">
                <a:solidFill>
                  <a:schemeClr val="tx1">
                    <a:lumMod val="65000"/>
                    <a:lumOff val="35000"/>
                  </a:schemeClr>
                </a:solidFill>
              </a:rPr>
              <a:t>. La importancia y la satisfacción otorgadas a la competencia en idiomas varían según el sector de actividad y el tamaño de la empresa o institución.</a:t>
            </a:r>
            <a:endParaRPr lang="en-US" altLang="en-US" sz="1300" b="0" dirty="0">
              <a:solidFill>
                <a:schemeClr val="tx1">
                  <a:lumMod val="65000"/>
                  <a:lumOff val="35000"/>
                </a:schemeClr>
              </a:solidFill>
            </a:endParaRPr>
          </a:p>
          <a:p>
            <a:pPr marL="285750" indent="-285750" eaLnBrk="0" fontAlgn="base" hangingPunct="0">
              <a:lnSpc>
                <a:spcPct val="100000"/>
              </a:lnSpc>
              <a:spcBef>
                <a:spcPct val="0"/>
              </a:spcBef>
              <a:spcAft>
                <a:spcPct val="0"/>
              </a:spcAft>
              <a:buFont typeface="Wingdings 3" panose="05040102010807070707" pitchFamily="18" charset="2"/>
              <a:buChar char=""/>
              <a:tabLst>
                <a:tab pos="414668" algn="l"/>
              </a:tabLst>
            </a:pPr>
            <a:endParaRPr lang="es-ES" altLang="en-US" sz="1300" b="0" dirty="0">
              <a:solidFill>
                <a:schemeClr val="tx1">
                  <a:lumMod val="65000"/>
                  <a:lumOff val="35000"/>
                </a:schemeClr>
              </a:solidFill>
            </a:endParaRPr>
          </a:p>
          <a:p>
            <a:pPr marL="645750" lvl="2" indent="-285750" eaLnBrk="0" fontAlgn="base" hangingPunct="0">
              <a:lnSpc>
                <a:spcPct val="100000"/>
              </a:lnSpc>
              <a:spcBef>
                <a:spcPct val="0"/>
              </a:spcBef>
              <a:spcAft>
                <a:spcPct val="0"/>
              </a:spcAft>
              <a:buFont typeface="Wingdings 3" panose="05040102010807070707" pitchFamily="18" charset="2"/>
              <a:buChar char=""/>
              <a:tabLst>
                <a:tab pos="414668" algn="l"/>
              </a:tabLst>
            </a:pPr>
            <a:r>
              <a:rPr lang="es-ES" altLang="en-US" sz="1300" b="0" dirty="0">
                <a:solidFill>
                  <a:schemeClr val="tx1">
                    <a:lumMod val="65000"/>
                    <a:lumOff val="35000"/>
                  </a:schemeClr>
                </a:solidFill>
              </a:rPr>
              <a:t>Acción de </a:t>
            </a:r>
            <a:r>
              <a:rPr lang="es-ES" altLang="en-US" sz="1300" b="0" dirty="0" smtClean="0">
                <a:solidFill>
                  <a:schemeClr val="tx1">
                    <a:lumMod val="65000"/>
                    <a:lumOff val="35000"/>
                  </a:schemeClr>
                </a:solidFill>
              </a:rPr>
              <a:t>mejora</a:t>
            </a:r>
          </a:p>
          <a:p>
            <a:pPr eaLnBrk="0" fontAlgn="base" hangingPunct="0">
              <a:lnSpc>
                <a:spcPct val="100000"/>
              </a:lnSpc>
              <a:spcBef>
                <a:spcPct val="0"/>
              </a:spcBef>
              <a:spcAft>
                <a:spcPct val="0"/>
              </a:spcAft>
              <a:tabLst>
                <a:tab pos="414668" algn="l"/>
              </a:tabLst>
            </a:pPr>
            <a:endParaRPr lang="es-ES" altLang="en-US" sz="1300" b="0" dirty="0">
              <a:solidFill>
                <a:schemeClr val="tx1">
                  <a:lumMod val="65000"/>
                  <a:lumOff val="35000"/>
                </a:schemeClr>
              </a:solidFill>
            </a:endParaRPr>
          </a:p>
          <a:p>
            <a:pPr marL="891450" lvl="3" indent="-171450" eaLnBrk="0" fontAlgn="base" hangingPunct="0">
              <a:lnSpc>
                <a:spcPct val="100000"/>
              </a:lnSpc>
              <a:spcBef>
                <a:spcPct val="0"/>
              </a:spcBef>
              <a:spcAft>
                <a:spcPct val="0"/>
              </a:spcAft>
              <a:buFont typeface="Garamond" panose="02020404030301010803" pitchFamily="18" charset="0"/>
              <a:buChar char="–"/>
              <a:tabLst>
                <a:tab pos="414668" algn="l"/>
              </a:tabLst>
            </a:pPr>
            <a:r>
              <a:rPr lang="es-ES" altLang="en-US" dirty="0">
                <a:solidFill>
                  <a:schemeClr val="tx1">
                    <a:lumMod val="65000"/>
                    <a:lumOff val="35000"/>
                  </a:schemeClr>
                </a:solidFill>
                <a:ea typeface="Verdana" panose="020B0604030504040204" pitchFamily="34" charset="0"/>
                <a:cs typeface="Verdana" panose="020B0604030504040204" pitchFamily="34" charset="0"/>
              </a:rPr>
              <a:t>Valorar la mejora de la formación en idiomas en las titulaciones en las que el mercado de trabajo considere más importante esta </a:t>
            </a:r>
            <a:r>
              <a:rPr lang="es-ES" altLang="en-US" dirty="0" smtClean="0">
                <a:solidFill>
                  <a:schemeClr val="tx1">
                    <a:lumMod val="65000"/>
                    <a:lumOff val="35000"/>
                  </a:schemeClr>
                </a:solidFill>
                <a:ea typeface="Verdana" panose="020B0604030504040204" pitchFamily="34" charset="0"/>
                <a:cs typeface="Verdana" panose="020B0604030504040204" pitchFamily="34" charset="0"/>
              </a:rPr>
              <a:t>competencia.</a:t>
            </a:r>
            <a:endParaRPr lang="en-US" altLang="en-US" dirty="0">
              <a:solidFill>
                <a:schemeClr val="tx1">
                  <a:lumMod val="65000"/>
                  <a:lumOff val="35000"/>
                </a:schemeClr>
              </a:solidFill>
              <a:ea typeface="Verdana" panose="020B0604030504040204" pitchFamily="34" charset="0"/>
              <a:cs typeface="Verdana" panose="020B0604030504040204" pitchFamily="34" charset="0"/>
            </a:endParaRPr>
          </a:p>
          <a:p>
            <a:pPr eaLnBrk="0" fontAlgn="base" hangingPunct="0">
              <a:lnSpc>
                <a:spcPct val="100000"/>
              </a:lnSpc>
              <a:spcBef>
                <a:spcPct val="0"/>
              </a:spcBef>
              <a:spcAft>
                <a:spcPct val="0"/>
              </a:spcAft>
              <a:tabLst>
                <a:tab pos="829335" algn="l"/>
              </a:tabLst>
            </a:pPr>
            <a:endParaRPr lang="es-ES" altLang="en-US" sz="1100" u="sng" dirty="0">
              <a:solidFill>
                <a:schemeClr val="tx1">
                  <a:lumMod val="65000"/>
                  <a:lumOff val="35000"/>
                </a:schemeClr>
              </a:solidFill>
              <a:latin typeface="Times New Roman" panose="02020603050405020304" pitchFamily="18" charset="0"/>
              <a:ea typeface="Arial" panose="020B0604020202020204" pitchFamily="34" charset="0"/>
              <a:cs typeface="Times New Roman" panose="02020603050405020304" pitchFamily="18" charset="0"/>
            </a:endParaRPr>
          </a:p>
          <a:p>
            <a:pPr marL="285750" indent="-285750" eaLnBrk="0" fontAlgn="base" hangingPunct="0">
              <a:lnSpc>
                <a:spcPct val="100000"/>
              </a:lnSpc>
              <a:spcBef>
                <a:spcPct val="0"/>
              </a:spcBef>
              <a:spcAft>
                <a:spcPct val="0"/>
              </a:spcAft>
              <a:buFont typeface="Wingdings 3" panose="05040102010807070707" pitchFamily="18" charset="2"/>
              <a:buChar char=""/>
              <a:tabLst>
                <a:tab pos="414668" algn="l"/>
              </a:tabLst>
            </a:pPr>
            <a:endParaRPr lang="es-ES" altLang="en-US" sz="1300" b="0" dirty="0" smtClean="0">
              <a:solidFill>
                <a:schemeClr val="tx1">
                  <a:lumMod val="65000"/>
                  <a:lumOff val="35000"/>
                </a:schemeClr>
              </a:solidFill>
            </a:endParaRPr>
          </a:p>
          <a:p>
            <a:pPr lvl="8" indent="0" eaLnBrk="0" fontAlgn="base" hangingPunct="0">
              <a:spcBef>
                <a:spcPct val="0"/>
              </a:spcBef>
              <a:spcAft>
                <a:spcPct val="0"/>
              </a:spcAft>
              <a:buNone/>
              <a:tabLst>
                <a:tab pos="414668" algn="l"/>
              </a:tabLst>
            </a:pPr>
            <a:r>
              <a:rPr lang="es-ES" altLang="en-US" sz="1300" dirty="0" smtClean="0">
                <a:solidFill>
                  <a:schemeClr val="tx1">
                    <a:lumMod val="65000"/>
                    <a:lumOff val="35000"/>
                  </a:schemeClr>
                </a:solidFill>
              </a:rPr>
              <a:t>		</a:t>
            </a:r>
            <a:r>
              <a:rPr lang="es-ES" altLang="en-US" sz="1000" dirty="0" smtClean="0">
                <a:solidFill>
                  <a:schemeClr val="tx1">
                    <a:lumMod val="65000"/>
                    <a:lumOff val="35000"/>
                  </a:schemeClr>
                </a:solidFill>
              </a:rPr>
              <a:t>*</a:t>
            </a:r>
            <a:r>
              <a:rPr lang="es-ES" altLang="en-US" sz="900" dirty="0" smtClean="0">
                <a:solidFill>
                  <a:schemeClr val="tx1">
                    <a:lumMod val="65000"/>
                    <a:lumOff val="35000"/>
                  </a:schemeClr>
                </a:solidFill>
              </a:rPr>
              <a:t>Agencia per a la </a:t>
            </a:r>
            <a:r>
              <a:rPr lang="es-ES" altLang="en-US" sz="900" dirty="0" err="1" smtClean="0">
                <a:solidFill>
                  <a:schemeClr val="tx1">
                    <a:lumMod val="65000"/>
                    <a:lumOff val="35000"/>
                  </a:schemeClr>
                </a:solidFill>
              </a:rPr>
              <a:t>qualitat</a:t>
            </a:r>
            <a:r>
              <a:rPr lang="es-ES" altLang="en-US" sz="900" dirty="0" smtClean="0">
                <a:solidFill>
                  <a:schemeClr val="tx1">
                    <a:lumMod val="65000"/>
                    <a:lumOff val="35000"/>
                  </a:schemeClr>
                </a:solidFill>
              </a:rPr>
              <a:t> del Sistema </a:t>
            </a:r>
            <a:r>
              <a:rPr lang="es-ES" altLang="en-US" sz="900" dirty="0" err="1" smtClean="0">
                <a:solidFill>
                  <a:schemeClr val="tx1">
                    <a:lumMod val="65000"/>
                    <a:lumOff val="35000"/>
                  </a:schemeClr>
                </a:solidFill>
              </a:rPr>
              <a:t>Universitari</a:t>
            </a:r>
            <a:r>
              <a:rPr lang="es-ES" altLang="en-US" sz="900" dirty="0" smtClean="0">
                <a:solidFill>
                  <a:schemeClr val="tx1">
                    <a:lumMod val="65000"/>
                    <a:lumOff val="35000"/>
                  </a:schemeClr>
                </a:solidFill>
              </a:rPr>
              <a:t> de Catalunya</a:t>
            </a:r>
            <a:endParaRPr lang="es-ES" altLang="en-US" sz="900" b="0" dirty="0" smtClean="0">
              <a:solidFill>
                <a:schemeClr val="tx1">
                  <a:lumMod val="65000"/>
                  <a:lumOff val="35000"/>
                </a:schemeClr>
              </a:solidFill>
            </a:endParaRPr>
          </a:p>
        </p:txBody>
      </p:sp>
      <p:pic>
        <p:nvPicPr>
          <p:cNvPr id="1026" name="Picture 2" descr="Image result for Recent graduate icon"/>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contrast="-40000"/>
                    </a14:imgEffect>
                  </a14:imgLayer>
                </a14:imgProps>
              </a:ext>
              <a:ext uri="{28A0092B-C50C-407E-A947-70E740481C1C}">
                <a14:useLocalDpi xmlns:a14="http://schemas.microsoft.com/office/drawing/2010/main" val="0"/>
              </a:ext>
            </a:extLst>
          </a:blip>
          <a:srcRect/>
          <a:stretch>
            <a:fillRect/>
          </a:stretch>
        </p:blipFill>
        <p:spPr bwMode="auto">
          <a:xfrm>
            <a:off x="0" y="1568714"/>
            <a:ext cx="1204967" cy="120496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1054359" y="1169989"/>
            <a:ext cx="8648442" cy="200241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17" name="Rectangle 16"/>
          <p:cNvSpPr/>
          <p:nvPr/>
        </p:nvSpPr>
        <p:spPr>
          <a:xfrm>
            <a:off x="158620" y="3227389"/>
            <a:ext cx="895739" cy="1861446"/>
          </a:xfrm>
          <a:prstGeom prst="rect">
            <a:avLst/>
          </a:prstGeom>
          <a:solidFill>
            <a:srgbClr val="C2918C"/>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18" name="Rectangle 17"/>
          <p:cNvSpPr/>
          <p:nvPr/>
        </p:nvSpPr>
        <p:spPr>
          <a:xfrm>
            <a:off x="1054359" y="3227389"/>
            <a:ext cx="8648442" cy="1861446"/>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pic>
        <p:nvPicPr>
          <p:cNvPr id="1028" name="Picture 4" descr="Image result for hiring difficulty icon"/>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07855" y="3764828"/>
            <a:ext cx="789256" cy="789256"/>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158620" y="5143816"/>
            <a:ext cx="895739" cy="1525341"/>
          </a:xfrm>
          <a:prstGeom prst="rect">
            <a:avLst/>
          </a:prstGeom>
          <a:solidFill>
            <a:srgbClr val="ABBEAA"/>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sp>
        <p:nvSpPr>
          <p:cNvPr id="21" name="Rectangle 20"/>
          <p:cNvSpPr/>
          <p:nvPr/>
        </p:nvSpPr>
        <p:spPr>
          <a:xfrm>
            <a:off x="1054359" y="5143816"/>
            <a:ext cx="8648442" cy="152534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smtClean="0"/>
          </a:p>
        </p:txBody>
      </p:sp>
      <p:pic>
        <p:nvPicPr>
          <p:cNvPr id="1030" name="Picture 6" descr="Image result for language icon"/>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207856" y="5530535"/>
            <a:ext cx="789256" cy="789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1538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NRSTYLE" val="misc"/>
</p:tagLst>
</file>

<file path=ppt/tags/tag10.xml><?xml version="1.0" encoding="utf-8"?>
<p:tagLst xmlns:a="http://schemas.openxmlformats.org/drawingml/2006/main" xmlns:r="http://schemas.openxmlformats.org/officeDocument/2006/relationships" xmlns:p="http://schemas.openxmlformats.org/presentationml/2006/main">
  <p:tag name="MIO_GUID" val="d0224e9d-9d4f-486f-9b32-59a3f1265d40"/>
  <p:tag name="MIO_EK" val="51381"/>
  <p:tag name="MIO_EKGUID" val="2e16093c-8ef7-42d7-a9f9-b16602502468"/>
  <p:tag name="MIO_UPDATE" val="True"/>
  <p:tag name="MIO_VERSION" val="23.03.2017 16:23:36"/>
  <p:tag name="MIO_DBID" val="B8FCB12D-AF03-49EB-9F79-BB019BE99E1E"/>
  <p:tag name="MIO_LASTDOWNLOADED" val="15.05.2017 19:03:00"/>
  <p:tag name="MIO_OBJECTNAME" val="Heidrick &amp; Struggles’ Overview"/>
  <p:tag name="MIO_LASTEDITORNAME" val="PC "/>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NUMBER_OF_VALID_LAYOUTS" val="10"/>
  <p:tag name="MIO_MST_COLOR_1" val="0,0,0,Dark 1"/>
  <p:tag name="MIO_MST_COLOR_2" val="255,255,255,Light 1"/>
  <p:tag name="MIO_MST_COLOR_3" val="26,52,89,Dark 2"/>
  <p:tag name="MIO_MST_COLOR_4" val="255,255,255,Light 2"/>
  <p:tag name="MIO_MST_COLOR_5" val="26,52,89,Accent 1"/>
  <p:tag name="MIO_MST_COLOR_6" val="134,36,25,Accent 2"/>
  <p:tag name="MIO_MST_COLOR_7" val="115,147,114,Accent 3"/>
  <p:tag name="MIO_MST_COLOR_8" val="103,154,154,Accent 4"/>
  <p:tag name="MIO_MST_COLOR_9" val="88,87,66,Accent 5"/>
  <p:tag name="MIO_MST_COLOR_10" val="200,92,24,Accent 6"/>
  <p:tag name="MIO_MST_COLOR_11" val="61,80,90,"/>
  <p:tag name="MIO_MST_COLOR_12" val="192,192,192,"/>
  <p:tag name="MIO_HDS" val="True"/>
  <p:tag name="MIO_EK" val="33112"/>
  <p:tag name="MIO_UPDATE" val="True"/>
  <p:tag name="MIO_VERSION" val="08.01.2016 13:30:10"/>
  <p:tag name="MIO_DBID" val="B8FCB12D-AF03-49EB-9F79-BB019BE99E1E"/>
  <p:tag name="MIO_LASTDOWNLOADED" val="08.01.2016 12:30:10"/>
  <p:tag name="MIO_OBJECTNAME" val="HS Print - EMEA &amp; APAC"/>
  <p:tag name="MIO_LASTEDITORNAME" val="george "/>
  <p:tag name="MIO_PRESI_FIRST_SLIDENUMBER" val="0"/>
</p:tagLst>
</file>

<file path=ppt/tags/tag3.xml><?xml version="1.0" encoding="utf-8"?>
<p:tagLst xmlns:a="http://schemas.openxmlformats.org/drawingml/2006/main" xmlns:r="http://schemas.openxmlformats.org/officeDocument/2006/relationships" xmlns:p="http://schemas.openxmlformats.org/presentationml/2006/main">
  <p:tag name="RNRSTYLE" val="misc"/>
</p:tagLst>
</file>

<file path=ppt/tags/tag4.xml><?xml version="1.0" encoding="utf-8"?>
<p:tagLst xmlns:a="http://schemas.openxmlformats.org/drawingml/2006/main" xmlns:r="http://schemas.openxmlformats.org/officeDocument/2006/relationships" xmlns:p="http://schemas.openxmlformats.org/presentationml/2006/main">
  <p:tag name="RNRSTYLE" val="misc"/>
</p:tagLst>
</file>

<file path=ppt/tags/tag5.xml><?xml version="1.0" encoding="utf-8"?>
<p:tagLst xmlns:a="http://schemas.openxmlformats.org/drawingml/2006/main" xmlns:r="http://schemas.openxmlformats.org/officeDocument/2006/relationships" xmlns:p="http://schemas.openxmlformats.org/presentationml/2006/main">
  <p:tag name="RNRSTYLE" val="misc"/>
</p:tagLst>
</file>

<file path=ppt/tags/tag6.xml><?xml version="1.0" encoding="utf-8"?>
<p:tagLst xmlns:a="http://schemas.openxmlformats.org/drawingml/2006/main" xmlns:r="http://schemas.openxmlformats.org/officeDocument/2006/relationships" xmlns:p="http://schemas.openxmlformats.org/presentationml/2006/main">
  <p:tag name="RNRSTYLE" val="misc"/>
</p:tagLst>
</file>

<file path=ppt/tags/tag7.xml><?xml version="1.0" encoding="utf-8"?>
<p:tagLst xmlns:a="http://schemas.openxmlformats.org/drawingml/2006/main" xmlns:r="http://schemas.openxmlformats.org/officeDocument/2006/relationships" xmlns:p="http://schemas.openxmlformats.org/presentationml/2006/main">
  <p:tag name="RNRSTYLE" val="misc"/>
</p:tagLst>
</file>

<file path=ppt/tags/tag8.xml><?xml version="1.0" encoding="utf-8"?>
<p:tagLst xmlns:a="http://schemas.openxmlformats.org/drawingml/2006/main" xmlns:r="http://schemas.openxmlformats.org/officeDocument/2006/relationships" xmlns:p="http://schemas.openxmlformats.org/presentationml/2006/main">
  <p:tag name="RNRSTYLE" val="misc"/>
</p:tagLst>
</file>

<file path=ppt/tags/tag9.xml><?xml version="1.0" encoding="utf-8"?>
<p:tagLst xmlns:a="http://schemas.openxmlformats.org/drawingml/2006/main" xmlns:r="http://schemas.openxmlformats.org/officeDocument/2006/relationships" xmlns:p="http://schemas.openxmlformats.org/presentationml/2006/main">
  <p:tag name="FONT STYLE" val="SANS SERIF"/>
</p:tagLst>
</file>

<file path=ppt/theme/theme1.xml><?xml version="1.0" encoding="utf-8"?>
<a:theme xmlns:a="http://schemas.openxmlformats.org/drawingml/2006/main" name="HS Print">
  <a:themeElements>
    <a:clrScheme name="HSPrint">
      <a:dk1>
        <a:sysClr val="windowText" lastClr="000000"/>
      </a:dk1>
      <a:lt1>
        <a:sysClr val="window" lastClr="FFFFFF"/>
      </a:lt1>
      <a:dk2>
        <a:srgbClr val="1A3459"/>
      </a:dk2>
      <a:lt2>
        <a:srgbClr val="FFFFFF"/>
      </a:lt2>
      <a:accent1>
        <a:srgbClr val="1A3459"/>
      </a:accent1>
      <a:accent2>
        <a:srgbClr val="862419"/>
      </a:accent2>
      <a:accent3>
        <a:srgbClr val="739372"/>
      </a:accent3>
      <a:accent4>
        <a:srgbClr val="679A9A"/>
      </a:accent4>
      <a:accent5>
        <a:srgbClr val="585742"/>
      </a:accent5>
      <a:accent6>
        <a:srgbClr val="C85C18"/>
      </a:accent6>
      <a:hlink>
        <a:srgbClr val="3D505A"/>
      </a:hlink>
      <a:folHlink>
        <a:srgbClr val="C0C0C0"/>
      </a:folHlink>
    </a:clrScheme>
    <a:fontScheme name="HSPrint -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200" b="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custClrLst>
    <a:custClr name="Custom Color 1">
      <a:srgbClr val="8C99AC"/>
    </a:custClr>
    <a:custClr name="Custom Color 2">
      <a:srgbClr val="C2918C"/>
    </a:custClr>
    <a:custClr name="Custom Color 3">
      <a:srgbClr val="ABBEAA"/>
    </a:custClr>
    <a:custClr name="Custom Color 4">
      <a:srgbClr val="A4C2C0"/>
    </a:custClr>
    <a:custClr name="Custom Color 5">
      <a:srgbClr val="A3A285"/>
    </a:custClr>
    <a:custClr name="Custom Color 6">
      <a:srgbClr val="ED9A66"/>
    </a:custClr>
    <a:custClr name="Custom Color 7">
      <a:srgbClr val="9EA7AC"/>
    </a:custClr>
    <a:custClr name="Custom Color 8">
      <a:srgbClr val="A6A6A6"/>
    </a:custClr>
    <a:custClr name="Custom Color 9">
      <a:srgbClr val="3D505A"/>
    </a:custClr>
    <a:custClr name="Custom Color 10">
      <a:srgbClr val="7F7F7F"/>
    </a:custClr>
  </a:custClrLst>
  <a:extLst>
    <a:ext uri="{05A4C25C-085E-4340-85A3-A5531E510DB2}">
      <thm15:themeFamily xmlns:thm15="http://schemas.microsoft.com/office/thememl/2012/main" xmlns="" name="Blank.potx" id="{9491ED9A-F87D-467B-81B9-61C1247EAAE9}" vid="{E542D8A7-FFDC-4E98-B19C-AE66D96D7FDA}"/>
    </a:ext>
  </a:extLst>
</a:theme>
</file>

<file path=ppt/theme/theme2.xml><?xml version="1.0" encoding="utf-8"?>
<a:theme xmlns:a="http://schemas.openxmlformats.org/drawingml/2006/main" name="Office Theme">
  <a:themeElements>
    <a:clrScheme name="HSPrint">
      <a:dk1>
        <a:sysClr val="windowText" lastClr="000000"/>
      </a:dk1>
      <a:lt1>
        <a:sysClr val="window" lastClr="FFFFFF"/>
      </a:lt1>
      <a:dk2>
        <a:srgbClr val="1A3459"/>
      </a:dk2>
      <a:lt2>
        <a:srgbClr val="FFFFFF"/>
      </a:lt2>
      <a:accent1>
        <a:srgbClr val="1A3459"/>
      </a:accent1>
      <a:accent2>
        <a:srgbClr val="862419"/>
      </a:accent2>
      <a:accent3>
        <a:srgbClr val="739372"/>
      </a:accent3>
      <a:accent4>
        <a:srgbClr val="679A9A"/>
      </a:accent4>
      <a:accent5>
        <a:srgbClr val="585742"/>
      </a:accent5>
      <a:accent6>
        <a:srgbClr val="C85C18"/>
      </a:accent6>
      <a:hlink>
        <a:srgbClr val="3D505A"/>
      </a:hlink>
      <a:folHlink>
        <a:srgbClr val="C0C0C0"/>
      </a:folHlink>
    </a:clrScheme>
    <a:fontScheme name="HSPri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SPrint">
      <a:dk1>
        <a:sysClr val="windowText" lastClr="000000"/>
      </a:dk1>
      <a:lt1>
        <a:sysClr val="window" lastClr="FFFFFF"/>
      </a:lt1>
      <a:dk2>
        <a:srgbClr val="1A3459"/>
      </a:dk2>
      <a:lt2>
        <a:srgbClr val="FFFFFF"/>
      </a:lt2>
      <a:accent1>
        <a:srgbClr val="1A3459"/>
      </a:accent1>
      <a:accent2>
        <a:srgbClr val="862419"/>
      </a:accent2>
      <a:accent3>
        <a:srgbClr val="739372"/>
      </a:accent3>
      <a:accent4>
        <a:srgbClr val="679A9A"/>
      </a:accent4>
      <a:accent5>
        <a:srgbClr val="585742"/>
      </a:accent5>
      <a:accent6>
        <a:srgbClr val="C85C18"/>
      </a:accent6>
      <a:hlink>
        <a:srgbClr val="3D505A"/>
      </a:hlink>
      <a:folHlink>
        <a:srgbClr val="C0C0C0"/>
      </a:folHlink>
    </a:clrScheme>
    <a:fontScheme name="HSPri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3980</TotalTime>
  <Words>1411</Words>
  <Application>Microsoft Office PowerPoint</Application>
  <PresentationFormat>Personalizado</PresentationFormat>
  <Paragraphs>184</Paragraphs>
  <Slides>11</Slides>
  <Notes>4</Notes>
  <HiddenSlides>0</HiddenSlides>
  <MMClips>0</MMClips>
  <ScaleCrop>false</ScaleCrop>
  <HeadingPairs>
    <vt:vector size="4" baseType="variant">
      <vt:variant>
        <vt:lpstr>Tema</vt:lpstr>
      </vt:variant>
      <vt:variant>
        <vt:i4>1</vt:i4>
      </vt:variant>
      <vt:variant>
        <vt:lpstr>Títulos de diapositiva</vt:lpstr>
      </vt:variant>
      <vt:variant>
        <vt:i4>11</vt:i4>
      </vt:variant>
    </vt:vector>
  </HeadingPairs>
  <TitlesOfParts>
    <vt:vector size="12" baseType="lpstr">
      <vt:lpstr>HS Print</vt:lpstr>
      <vt:lpstr>Presentación de PowerPoint</vt:lpstr>
      <vt:lpstr>Breve reseña de Heidrick &amp; Struggles</vt:lpstr>
      <vt:lpstr>Heidrick &amp; Struggles – Nuestros servicios</vt:lpstr>
      <vt:lpstr>El Esquema Infinity  Evaluando holísticamente las cuatro dimensiones claves del líder </vt:lpstr>
      <vt:lpstr>Impacto de los cuadrantes Infinity a lo largo de la vida laboral en la empresa privada</vt:lpstr>
      <vt:lpstr>Contratación graduados universitarios en la empresa privada</vt:lpstr>
      <vt:lpstr>Presentación de PowerPoint</vt:lpstr>
      <vt:lpstr>Situación específica de los graduados de Humanidades y otras ciencias sociales en Castilla y León</vt:lpstr>
      <vt:lpstr>Posibles acciones de mejora </vt:lpstr>
      <vt:lpstr>Posibles acciones de mejora (continuación)</vt:lpstr>
      <vt:lpstr>Programas de colaboración Universidad - Empresa</vt:lpstr>
    </vt:vector>
  </TitlesOfParts>
  <Company>Heidrick &amp; Struggl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finity Framework ― An assessment process for finding the right leader</dc:title>
  <dc:creator>Kumar, Vinay</dc:creator>
  <cp:keywords>HS Print (EMEA &amp; AP)</cp:keywords>
  <dc:description>Updated Jan 2016
Theme HS Print
Font HS Print
Colors HS Print</dc:description>
  <cp:lastModifiedBy>Marisol Olmos</cp:lastModifiedBy>
  <cp:revision>256</cp:revision>
  <cp:lastPrinted>2018-05-23T14:41:39Z</cp:lastPrinted>
  <dcterms:created xsi:type="dcterms:W3CDTF">2017-07-03T15:15:28Z</dcterms:created>
  <dcterms:modified xsi:type="dcterms:W3CDTF">2018-05-28T11:17:45Z</dcterms:modified>
</cp:coreProperties>
</file>